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 bookmarkIdSeed="16">
  <p:sldMasterIdLst>
    <p:sldMasterId id="2147483648" r:id="rId4"/>
  </p:sldMasterIdLst>
  <p:notesMasterIdLst>
    <p:notesMasterId r:id="rId17"/>
  </p:notesMasterIdLst>
  <p:handoutMasterIdLst>
    <p:handoutMasterId r:id="rId18"/>
  </p:handoutMasterIdLst>
  <p:sldIdLst>
    <p:sldId id="271" r:id="rId5"/>
    <p:sldId id="265" r:id="rId6"/>
    <p:sldId id="272" r:id="rId7"/>
    <p:sldId id="275" r:id="rId8"/>
    <p:sldId id="276" r:id="rId9"/>
    <p:sldId id="293" r:id="rId10"/>
    <p:sldId id="294" r:id="rId11"/>
    <p:sldId id="292" r:id="rId12"/>
    <p:sldId id="279" r:id="rId13"/>
    <p:sldId id="296" r:id="rId14"/>
    <p:sldId id="282" r:id="rId15"/>
    <p:sldId id="269" r:id="rId16"/>
  </p:sldIdLst>
  <p:sldSz cx="12192000" cy="6858000"/>
  <p:notesSz cx="6797675" cy="9926638"/>
  <p:custDataLst>
    <p:tags r:id="rId19"/>
  </p:custDataLst>
  <p:defaultTextStyle>
    <a:defPPr>
      <a:defRPr lang="en-US"/>
    </a:defPPr>
    <a:lvl1pPr marL="0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733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2547">
          <p15:clr>
            <a:srgbClr val="A4A3A4"/>
          </p15:clr>
        </p15:guide>
        <p15:guide id="4" pos="385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Eliza Reid" initials="ER" lastIdx="12" clrIdx="0"/>
  <p:cmAuthor id="1" name="Auðbjörg Ólafsdóttir" initials="AÓ" lastIdx="1" clrIdx="1"/>
  <p:cmAuthor id="2" name="Bastiaan Görts" initials="BG" lastIdx="4" clrIdx="2"/>
  <p:cmAuthor id="3" name="Eva Dögg Guðmundsdóttir" initials="EDG" lastIdx="5" clrIdx="3"/>
  <p:cmAuthor id="4" name="Linda Jónsdóttir" initials="LJ" lastIdx="52" clrIdx="4">
    <p:extLst/>
  </p:cmAuthor>
  <p:cmAuthor id="5" name="Valdimarsson, Sæmundur" initials="VS" lastIdx="9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BCE"/>
    <a:srgbClr val="66B346"/>
    <a:srgbClr val="1E521F"/>
    <a:srgbClr val="42B445"/>
    <a:srgbClr val="F3F6F3"/>
    <a:srgbClr val="7FCB28"/>
    <a:srgbClr val="73B632"/>
    <a:srgbClr val="003A70"/>
    <a:srgbClr val="394E70"/>
    <a:srgbClr val="E5E6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571" autoAdjust="0"/>
    <p:restoredTop sz="97722" autoAdjust="0"/>
  </p:normalViewPr>
  <p:slideViewPr>
    <p:cSldViewPr snapToObjects="1">
      <p:cViewPr varScale="1">
        <p:scale>
          <a:sx n="70" d="100"/>
          <a:sy n="70" d="100"/>
        </p:scale>
        <p:origin x="432" y="54"/>
      </p:cViewPr>
      <p:guideLst>
        <p:guide orient="horz" pos="2733"/>
        <p:guide pos="3840"/>
        <p:guide orient="horz" pos="2547"/>
        <p:guide pos="3851"/>
      </p:guideLst>
    </p:cSldViewPr>
  </p:slideViewPr>
  <p:outlineViewPr>
    <p:cViewPr>
      <p:scale>
        <a:sx n="33" d="100"/>
        <a:sy n="33" d="100"/>
      </p:scale>
      <p:origin x="0" y="2113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6F4001-5E0E-DB47-A856-277362EADB73}" type="datetimeFigureOut">
              <a:rPr lang="en-US" smtClean="0"/>
              <a:t>11/11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839E51-2008-5D41-AD58-981F9DB2F94E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499858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E3A700-F8CC-4346-8260-FDD7F5F68F03}" type="datetimeFigureOut">
              <a:rPr lang="en-US" smtClean="0"/>
              <a:t>11/11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1A4970E-5593-A347-9032-6779899C3380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08957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a_med_my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190687" y="3861048"/>
            <a:ext cx="9657841" cy="792088"/>
          </a:xfrm>
          <a:prstGeom prst="rect">
            <a:avLst/>
          </a:prstGeom>
        </p:spPr>
        <p:txBody>
          <a:bodyPr lIns="121896" tIns="60948" rIns="121896" bIns="60948" anchor="t"/>
          <a:lstStyle>
            <a:lvl1pPr marL="0" indent="0" algn="l" defTabSz="609459" rtl="0" eaLnBrk="1" latinLnBrk="0" hangingPunct="1">
              <a:spcBef>
                <a:spcPct val="0"/>
              </a:spcBef>
              <a:buNone/>
              <a:defRPr lang="en-US" sz="3600" b="0" i="0" kern="1200" cap="none" baseline="0">
                <a:solidFill>
                  <a:srgbClr val="1E521F"/>
                </a:solidFill>
                <a:latin typeface="CooperHewitt-Semibold"/>
                <a:ea typeface="+mj-ea"/>
                <a:cs typeface="CooperHewitt-Semibold"/>
              </a:defRPr>
            </a:lvl1pPr>
          </a:lstStyle>
          <a:p>
            <a:pPr lvl="0"/>
            <a:r>
              <a:rPr lang="en-US" dirty="0" smtClean="0"/>
              <a:t>DEMOCRACY AND EUROPE	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190687" y="4581128"/>
            <a:ext cx="9657841" cy="792088"/>
          </a:xfrm>
          <a:prstGeom prst="rect">
            <a:avLst/>
          </a:prstGeom>
        </p:spPr>
        <p:txBody>
          <a:bodyPr lIns="121896" tIns="60948" rIns="121896" bIns="60948" anchor="t"/>
          <a:lstStyle>
            <a:lvl1pPr marL="0" indent="0" algn="l" defTabSz="609459" rtl="0" eaLnBrk="1" latinLnBrk="0" hangingPunct="1">
              <a:spcBef>
                <a:spcPct val="0"/>
              </a:spcBef>
              <a:buNone/>
              <a:defRPr lang="en-US" sz="3200" b="0" i="0" kern="1200" cap="none" baseline="0">
                <a:solidFill>
                  <a:srgbClr val="73B632"/>
                </a:solidFill>
                <a:latin typeface="CooperHewitt-Semibold"/>
                <a:ea typeface="+mj-ea"/>
                <a:cs typeface="CooperHewitt-Semibold"/>
              </a:defRPr>
            </a:lvl1pPr>
          </a:lstStyle>
          <a:p>
            <a:pPr lvl="0"/>
            <a:r>
              <a:rPr lang="en-US" dirty="0" smtClean="0"/>
              <a:t>Our Common Future</a:t>
            </a:r>
          </a:p>
        </p:txBody>
      </p:sp>
    </p:spTree>
    <p:extLst>
      <p:ext uri="{BB962C8B-B14F-4D97-AF65-F5344CB8AC3E}">
        <p14:creationId xmlns:p14="http://schemas.microsoft.com/office/powerpoint/2010/main" val="3686133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a_an_mynd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657" y="0"/>
            <a:ext cx="12237694" cy="6885384"/>
          </a:xfrm>
          <a:prstGeom prst="rect">
            <a:avLst/>
          </a:prstGeom>
        </p:spPr>
      </p:pic>
      <p:sp>
        <p:nvSpPr>
          <p:cNvPr id="11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199456" y="4149080"/>
            <a:ext cx="9657841" cy="2384368"/>
          </a:xfrm>
          <a:prstGeom prst="rect">
            <a:avLst/>
          </a:prstGeom>
        </p:spPr>
        <p:txBody>
          <a:bodyPr lIns="121896" tIns="60948" rIns="121896" bIns="60948" anchor="t"/>
          <a:lstStyle>
            <a:lvl1pPr marL="0" indent="0" algn="l" defTabSz="609459" rtl="0" eaLnBrk="1" latinLnBrk="0" hangingPunct="1">
              <a:spcBef>
                <a:spcPct val="0"/>
              </a:spcBef>
              <a:buNone/>
              <a:defRPr lang="en-US" sz="3600" b="0" i="0" kern="1200" cap="none" baseline="0">
                <a:solidFill>
                  <a:srgbClr val="1E521F"/>
                </a:solidFill>
                <a:latin typeface="CooperHewitt-Semibold"/>
                <a:ea typeface="+mj-ea"/>
                <a:cs typeface="CooperHewitt-Semibold"/>
              </a:defRPr>
            </a:lvl1pPr>
          </a:lstStyle>
          <a:p>
            <a:pPr lvl="0"/>
            <a:r>
              <a:rPr lang="en-US" dirty="0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3424143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llisída_kaflaskip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3141716"/>
          </a:xfrm>
          <a:prstGeom prst="rect">
            <a:avLst/>
          </a:prstGeom>
        </p:spPr>
      </p:pic>
      <p:sp>
        <p:nvSpPr>
          <p:cNvPr id="8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487488" y="2924944"/>
            <a:ext cx="9657841" cy="792088"/>
          </a:xfrm>
          <a:prstGeom prst="rect">
            <a:avLst/>
          </a:prstGeom>
        </p:spPr>
        <p:txBody>
          <a:bodyPr lIns="121896" tIns="60948" rIns="121896" bIns="60948" anchor="t"/>
          <a:lstStyle>
            <a:lvl1pPr marL="0" indent="0" algn="l" defTabSz="609459" rtl="0" eaLnBrk="1" latinLnBrk="0" hangingPunct="1">
              <a:spcBef>
                <a:spcPct val="0"/>
              </a:spcBef>
              <a:buNone/>
              <a:defRPr lang="en-US" sz="3600" b="0" i="0" kern="1200" cap="none" baseline="0">
                <a:solidFill>
                  <a:srgbClr val="1E521F"/>
                </a:solidFill>
                <a:latin typeface="CooperHewitt-Semibold"/>
                <a:ea typeface="+mj-ea"/>
                <a:cs typeface="CooperHewitt-Semibold"/>
              </a:defRPr>
            </a:lvl1pPr>
          </a:lstStyle>
          <a:p>
            <a:pPr lvl="0"/>
            <a:r>
              <a:rPr lang="en-US" dirty="0" smtClean="0"/>
              <a:t>DEMOCRACY AND EUROPE	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563837"/>
            <a:ext cx="12192000" cy="32154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87488" y="3645024"/>
            <a:ext cx="9657841" cy="792088"/>
          </a:xfrm>
          <a:prstGeom prst="rect">
            <a:avLst/>
          </a:prstGeom>
        </p:spPr>
        <p:txBody>
          <a:bodyPr lIns="121896" tIns="60948" rIns="121896" bIns="60948" anchor="t"/>
          <a:lstStyle>
            <a:lvl1pPr marL="0" indent="0" algn="l" defTabSz="609459" rtl="0" eaLnBrk="1" latinLnBrk="0" hangingPunct="1">
              <a:spcBef>
                <a:spcPct val="0"/>
              </a:spcBef>
              <a:buNone/>
              <a:defRPr lang="en-US" sz="3200" b="0" i="0" kern="1200" cap="none" baseline="0">
                <a:solidFill>
                  <a:srgbClr val="73B632"/>
                </a:solidFill>
                <a:latin typeface="CooperHewitt-Semibold"/>
                <a:ea typeface="+mj-ea"/>
                <a:cs typeface="CooperHewitt-Semibold"/>
              </a:defRPr>
            </a:lvl1pPr>
          </a:lstStyle>
          <a:p>
            <a:pPr lvl="0"/>
            <a:r>
              <a:rPr lang="en-US" dirty="0" smtClean="0"/>
              <a:t>Our Common Future</a:t>
            </a:r>
          </a:p>
        </p:txBody>
      </p:sp>
    </p:spTree>
    <p:extLst>
      <p:ext uri="{BB962C8B-B14F-4D97-AF65-F5344CB8AC3E}">
        <p14:creationId xmlns:p14="http://schemas.microsoft.com/office/powerpoint/2010/main" val="10113463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llisida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71400"/>
            <a:ext cx="12192000" cy="2149431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6670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3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1199456" y="1772816"/>
            <a:ext cx="10153128" cy="4469049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defRPr sz="2000" b="0" i="0" baseline="0">
                <a:solidFill>
                  <a:schemeClr val="tx1"/>
                </a:solidFill>
                <a:latin typeface="CooperHewitt-Medium"/>
                <a:cs typeface="CooperHewitt-Medium"/>
              </a:defRPr>
            </a:lvl1pPr>
            <a:lvl2pPr>
              <a:buClr>
                <a:schemeClr val="tx2"/>
              </a:buClr>
              <a:defRPr sz="2000" b="0" i="0" baseline="0">
                <a:solidFill>
                  <a:schemeClr val="tx1"/>
                </a:solidFill>
                <a:latin typeface="CooperHewitt-Medium"/>
                <a:cs typeface="CooperHewitt-Medium"/>
              </a:defRPr>
            </a:lvl2pPr>
            <a:lvl3pPr>
              <a:buClr>
                <a:schemeClr val="tx2"/>
              </a:buClr>
              <a:defRPr sz="1800" b="0" i="0" baseline="0">
                <a:solidFill>
                  <a:schemeClr val="tx1"/>
                </a:solidFill>
                <a:latin typeface="CooperHewitt-Medium"/>
                <a:cs typeface="CooperHewitt-Medium"/>
              </a:defRPr>
            </a:lvl3pPr>
            <a:lvl4pPr>
              <a:buClr>
                <a:schemeClr val="tx2"/>
              </a:buClr>
              <a:defRPr sz="1400" b="0" i="0" baseline="0">
                <a:solidFill>
                  <a:schemeClr val="tx1"/>
                </a:solidFill>
                <a:latin typeface="CooperHewitt-Medium"/>
                <a:cs typeface="CooperHewitt-Medium"/>
              </a:defRPr>
            </a:lvl4pPr>
            <a:lvl5pPr>
              <a:buClr>
                <a:schemeClr val="tx2"/>
              </a:buClr>
              <a:defRPr sz="1200" b="0" i="0" baseline="0">
                <a:solidFill>
                  <a:schemeClr val="tx1"/>
                </a:solidFill>
                <a:latin typeface="CooperHewitt-Medium"/>
                <a:cs typeface="CooperHewitt-Medium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241865"/>
            <a:ext cx="12072664" cy="616135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199456" y="692696"/>
            <a:ext cx="11346714" cy="864096"/>
          </a:xfrm>
          <a:prstGeom prst="rect">
            <a:avLst/>
          </a:prstGeom>
        </p:spPr>
        <p:txBody>
          <a:bodyPr/>
          <a:lstStyle>
            <a:lvl1pPr>
              <a:defRPr sz="3200" b="0" i="0" baseline="0">
                <a:solidFill>
                  <a:srgbClr val="1E521F"/>
                </a:solidFill>
                <a:latin typeface="CooperHewitt-Semibold"/>
                <a:cs typeface="CooperHewitt-Semibold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3696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llisida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71400"/>
            <a:ext cx="12192000" cy="2149431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199456" y="692696"/>
            <a:ext cx="11346714" cy="864096"/>
          </a:xfrm>
          <a:prstGeom prst="rect">
            <a:avLst/>
          </a:prstGeom>
        </p:spPr>
        <p:txBody>
          <a:bodyPr/>
          <a:lstStyle>
            <a:lvl1pPr>
              <a:defRPr sz="3200" b="0" i="0" baseline="0">
                <a:solidFill>
                  <a:srgbClr val="1E521F"/>
                </a:solidFill>
                <a:latin typeface="CooperHewitt-Semibold"/>
                <a:cs typeface="CooperHewitt-Semibold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33676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6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199456" y="1568240"/>
            <a:ext cx="4824536" cy="4525056"/>
          </a:xfrm>
          <a:prstGeom prst="rect">
            <a:avLst/>
          </a:prstGeom>
        </p:spPr>
        <p:txBody>
          <a:bodyPr vert="horz"/>
          <a:lstStyle>
            <a:lvl1pPr>
              <a:defRPr b="0" i="0">
                <a:latin typeface="CooperHewitt-Book"/>
                <a:cs typeface="CooperHewitt-Book"/>
              </a:defRPr>
            </a:lvl1pPr>
          </a:lstStyle>
          <a:p>
            <a:pPr lvl="0"/>
            <a:r>
              <a:rPr lang="is-IS" dirty="0" smtClean="0"/>
              <a:t>Click to edit Master text styl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311402" y="1568240"/>
            <a:ext cx="4969173" cy="4525056"/>
          </a:xfrm>
          <a:prstGeom prst="rect">
            <a:avLst/>
          </a:prstGeom>
        </p:spPr>
        <p:txBody>
          <a:bodyPr vert="horz"/>
          <a:lstStyle>
            <a:lvl1pPr>
              <a:defRPr b="0" i="0">
                <a:latin typeface="CooperHewitt-Book"/>
                <a:cs typeface="CooperHewitt-Book"/>
              </a:defRPr>
            </a:lvl1pPr>
          </a:lstStyle>
          <a:p>
            <a:pPr lvl="0"/>
            <a:r>
              <a:rPr lang="is-IS" dirty="0" smtClean="0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241865"/>
            <a:ext cx="12072664" cy="616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35177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llisida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71400"/>
            <a:ext cx="12192000" cy="2149431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1199456" y="692696"/>
            <a:ext cx="11346714" cy="864096"/>
          </a:xfrm>
          <a:prstGeom prst="rect">
            <a:avLst/>
          </a:prstGeom>
        </p:spPr>
        <p:txBody>
          <a:bodyPr/>
          <a:lstStyle>
            <a:lvl1pPr>
              <a:defRPr sz="3200" b="0" i="0" baseline="0">
                <a:solidFill>
                  <a:srgbClr val="1E521F"/>
                </a:solidFill>
                <a:latin typeface="CooperHewitt-Semibold"/>
                <a:cs typeface="CooperHewitt-Semibold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50936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1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199456" y="1412776"/>
            <a:ext cx="4824536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0" i="0">
                <a:solidFill>
                  <a:srgbClr val="73B632"/>
                </a:solidFill>
                <a:latin typeface="CooperHewitt-Semibold"/>
                <a:cs typeface="CooperHewitt-Semibold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itle style</a:t>
            </a:r>
            <a:endParaRPr lang="is-IS" dirty="0" smtClean="0"/>
          </a:p>
        </p:txBody>
      </p:sp>
      <p:sp>
        <p:nvSpPr>
          <p:cNvPr id="13" name="Content Placeholder 3"/>
          <p:cNvSpPr>
            <a:spLocks noGrp="1"/>
          </p:cNvSpPr>
          <p:nvPr>
            <p:ph sz="half" idx="2"/>
          </p:nvPr>
        </p:nvSpPr>
        <p:spPr>
          <a:xfrm>
            <a:off x="1199456" y="2204864"/>
            <a:ext cx="4824535" cy="3951288"/>
          </a:xfrm>
          <a:prstGeom prst="rect">
            <a:avLst/>
          </a:prstGeom>
        </p:spPr>
        <p:txBody>
          <a:bodyPr/>
          <a:lstStyle>
            <a:lvl1pPr>
              <a:defRPr sz="2400" b="0" i="0">
                <a:latin typeface="CooperHewitt-Book"/>
                <a:cs typeface="CooperHewitt-Book"/>
              </a:defRPr>
            </a:lvl1pPr>
            <a:lvl2pPr>
              <a:defRPr sz="2000" b="0" i="0">
                <a:latin typeface="CooperHewitt-Book"/>
                <a:cs typeface="CooperHewitt-Book"/>
              </a:defRPr>
            </a:lvl2pPr>
            <a:lvl3pPr>
              <a:defRPr sz="1800" b="0" i="0">
                <a:latin typeface="CooperHewitt-Book"/>
                <a:cs typeface="CooperHewitt-Book"/>
              </a:defRPr>
            </a:lvl3pPr>
            <a:lvl4pPr>
              <a:defRPr sz="1600" b="0" i="0">
                <a:latin typeface="CooperHewitt-Book"/>
                <a:cs typeface="CooperHewitt-Book"/>
              </a:defRPr>
            </a:lvl4pPr>
            <a:lvl5pPr>
              <a:defRPr sz="1600" b="0" i="0">
                <a:latin typeface="CooperHewitt-Book"/>
                <a:cs typeface="CooperHewitt-Book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s-IS" dirty="0" smtClean="0"/>
              <a:t>Click to edit Master text styles</a:t>
            </a:r>
          </a:p>
          <a:p>
            <a:pPr lvl="1"/>
            <a:r>
              <a:rPr lang="is-IS" dirty="0" smtClean="0"/>
              <a:t>Second level</a:t>
            </a:r>
          </a:p>
          <a:p>
            <a:pPr lvl="2"/>
            <a:r>
              <a:rPr lang="is-IS" dirty="0" smtClean="0"/>
              <a:t>Third level</a:t>
            </a:r>
          </a:p>
          <a:p>
            <a:pPr lvl="3"/>
            <a:r>
              <a:rPr lang="is-IS" dirty="0" smtClean="0"/>
              <a:t>Fourth level</a:t>
            </a:r>
          </a:p>
          <a:p>
            <a:pPr lvl="4"/>
            <a:r>
              <a:rPr lang="is-IS" dirty="0" smtClean="0"/>
              <a:t>Fifth level</a:t>
            </a:r>
            <a:endParaRPr lang="en-US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6240016" y="1412776"/>
            <a:ext cx="4824536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0" i="0">
                <a:solidFill>
                  <a:srgbClr val="73B632"/>
                </a:solidFill>
                <a:latin typeface="CooperHewitt-Semibold"/>
                <a:cs typeface="CooperHewitt-Semibold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itle style</a:t>
            </a:r>
            <a:endParaRPr lang="is-IS" dirty="0" smtClean="0"/>
          </a:p>
        </p:txBody>
      </p:sp>
      <p:sp>
        <p:nvSpPr>
          <p:cNvPr id="17" name="Content Placeholder 3"/>
          <p:cNvSpPr>
            <a:spLocks noGrp="1"/>
          </p:cNvSpPr>
          <p:nvPr>
            <p:ph sz="half" idx="11"/>
          </p:nvPr>
        </p:nvSpPr>
        <p:spPr>
          <a:xfrm>
            <a:off x="6240016" y="2204864"/>
            <a:ext cx="4824535" cy="3951288"/>
          </a:xfrm>
          <a:prstGeom prst="rect">
            <a:avLst/>
          </a:prstGeom>
        </p:spPr>
        <p:txBody>
          <a:bodyPr/>
          <a:lstStyle>
            <a:lvl1pPr>
              <a:defRPr sz="2400" b="0" i="0">
                <a:latin typeface="CooperHewitt-Book"/>
                <a:cs typeface="CooperHewitt-Book"/>
              </a:defRPr>
            </a:lvl1pPr>
            <a:lvl2pPr>
              <a:defRPr sz="2000" b="0" i="0">
                <a:latin typeface="CooperHewitt-Book"/>
                <a:cs typeface="CooperHewitt-Book"/>
              </a:defRPr>
            </a:lvl2pPr>
            <a:lvl3pPr>
              <a:defRPr sz="1800" b="0" i="0">
                <a:latin typeface="CooperHewitt-Book"/>
                <a:cs typeface="CooperHewitt-Book"/>
              </a:defRPr>
            </a:lvl3pPr>
            <a:lvl4pPr>
              <a:defRPr sz="1600" b="0" i="0">
                <a:latin typeface="CooperHewitt-Book"/>
                <a:cs typeface="CooperHewitt-Book"/>
              </a:defRPr>
            </a:lvl4pPr>
            <a:lvl5pPr>
              <a:defRPr sz="1600" b="0" i="0">
                <a:latin typeface="CooperHewitt-Book"/>
                <a:cs typeface="CooperHewitt-Book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s-IS" dirty="0" smtClean="0"/>
              <a:t>Click to edit Master text styles</a:t>
            </a:r>
          </a:p>
          <a:p>
            <a:pPr lvl="1"/>
            <a:r>
              <a:rPr lang="is-IS" dirty="0" smtClean="0"/>
              <a:t>Second level</a:t>
            </a:r>
          </a:p>
          <a:p>
            <a:pPr lvl="2"/>
            <a:r>
              <a:rPr lang="is-IS" dirty="0" smtClean="0"/>
              <a:t>Third level</a:t>
            </a:r>
          </a:p>
          <a:p>
            <a:pPr lvl="3"/>
            <a:r>
              <a:rPr lang="is-IS" dirty="0" smtClean="0"/>
              <a:t>Fourth level</a:t>
            </a:r>
          </a:p>
          <a:p>
            <a:pPr lvl="4"/>
            <a:r>
              <a:rPr lang="is-IS" dirty="0" smtClean="0"/>
              <a:t>Fifth level</a:t>
            </a:r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241865"/>
            <a:ext cx="12072664" cy="616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74986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llisida_an_tex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241865"/>
            <a:ext cx="12072664" cy="616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68643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7686814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57" name="think-cell Slide" r:id="rId11" imgW="216" imgH="216" progId="TCLayout.ActiveDocument.1">
                  <p:embed/>
                </p:oleObj>
              </mc:Choice>
              <mc:Fallback>
                <p:oleObj name="think-cell Slide" r:id="rId11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174411" y="189000"/>
            <a:ext cx="11880000" cy="64800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4876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9" r:id="rId1"/>
    <p:sldLayoutId id="2147483650" r:id="rId2"/>
    <p:sldLayoutId id="2147483848" r:id="rId3"/>
    <p:sldLayoutId id="2147483655" r:id="rId4"/>
    <p:sldLayoutId id="2147483855" r:id="rId5"/>
    <p:sldLayoutId id="2147483857" r:id="rId6"/>
    <p:sldLayoutId id="2147483853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609585" rtl="0" eaLnBrk="1" latinLnBrk="0" hangingPunct="1">
        <a:spcBef>
          <a:spcPct val="0"/>
        </a:spcBef>
        <a:buNone/>
        <a:defRPr sz="4000" b="0" i="0" kern="1200">
          <a:solidFill>
            <a:srgbClr val="1C3867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Clr>
          <a:srgbClr val="1C3867"/>
        </a:buClr>
        <a:buSzPct val="60000"/>
        <a:buFont typeface="Arial"/>
        <a:buChar char="•"/>
        <a:defRPr sz="2400" kern="1200">
          <a:solidFill>
            <a:srgbClr val="6D6E7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defTabSz="609585" rtl="0" eaLnBrk="1" latinLnBrk="0" hangingPunct="1">
        <a:spcBef>
          <a:spcPct val="20000"/>
        </a:spcBef>
        <a:buClr>
          <a:srgbClr val="1C3867"/>
        </a:buClr>
        <a:buSzPct val="60000"/>
        <a:buFont typeface="Arial"/>
        <a:buChar char="•"/>
        <a:defRPr sz="2133" kern="1200">
          <a:solidFill>
            <a:srgbClr val="6D6E7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defTabSz="609585" rtl="0" eaLnBrk="1" latinLnBrk="0" hangingPunct="1">
        <a:spcBef>
          <a:spcPct val="20000"/>
        </a:spcBef>
        <a:buClr>
          <a:srgbClr val="1C3867"/>
        </a:buClr>
        <a:buSzPct val="60000"/>
        <a:buFont typeface="Arial"/>
        <a:buChar char="•"/>
        <a:defRPr sz="1867" kern="1200">
          <a:solidFill>
            <a:srgbClr val="6D6E7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defTabSz="609585" rtl="0" eaLnBrk="1" latinLnBrk="0" hangingPunct="1">
        <a:spcBef>
          <a:spcPct val="20000"/>
        </a:spcBef>
        <a:buClr>
          <a:srgbClr val="1C3867"/>
        </a:buClr>
        <a:buSzPct val="60000"/>
        <a:buFont typeface="Arial"/>
        <a:buChar char="•"/>
        <a:defRPr sz="1600" kern="1200">
          <a:solidFill>
            <a:srgbClr val="6D6E7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defTabSz="609585" rtl="0" eaLnBrk="1" latinLnBrk="0" hangingPunct="1">
        <a:spcBef>
          <a:spcPct val="20000"/>
        </a:spcBef>
        <a:buClr>
          <a:srgbClr val="1C3867"/>
        </a:buClr>
        <a:buSzPct val="60000"/>
        <a:buFont typeface="Arial"/>
        <a:buChar char="•"/>
        <a:defRPr sz="1333" kern="1200">
          <a:solidFill>
            <a:srgbClr val="6D6E7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mailto:Goret.Paulo@fgv.br" TargetMode="External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cooperacaoeu.fgv.br/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OPPORTUNITIES FOR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COOPERATION </a:t>
            </a:r>
            <a:r>
              <a:rPr lang="en-US" dirty="0"/>
              <a:t>BETWEEN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BRAZIL </a:t>
            </a:r>
            <a:r>
              <a:rPr lang="en-US" dirty="0"/>
              <a:t>AND THE </a:t>
            </a:r>
            <a:r>
              <a:rPr lang="en-US" dirty="0" smtClean="0"/>
              <a:t>EU</a:t>
            </a:r>
          </a:p>
          <a:p>
            <a:r>
              <a:rPr lang="de-DE" sz="3200" dirty="0" smtClean="0">
                <a:solidFill>
                  <a:srgbClr val="73B632"/>
                </a:solidFill>
              </a:rPr>
              <a:t>Social </a:t>
            </a:r>
            <a:r>
              <a:rPr lang="de-DE" sz="3200" dirty="0">
                <a:solidFill>
                  <a:srgbClr val="73B632"/>
                </a:solidFill>
              </a:rPr>
              <a:t>Sciences and Humanities</a:t>
            </a:r>
          </a:p>
          <a:p>
            <a:endParaRPr lang="en-GB" sz="3200" dirty="0">
              <a:solidFill>
                <a:srgbClr val="73B632"/>
              </a:solidFill>
            </a:endParaRP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2479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15480" y="188640"/>
            <a:ext cx="9937104" cy="864096"/>
          </a:xfrm>
          <a:prstGeom prst="rect">
            <a:avLst/>
          </a:prstGeom>
        </p:spPr>
        <p:txBody>
          <a:bodyPr/>
          <a:lstStyle/>
          <a:p>
            <a:r>
              <a:rPr lang="en-US" sz="3600" dirty="0" smtClean="0"/>
              <a:t>EUROPEAN UNION CALLS WITH PRIORITY TO INTERNATIONAL COOPERATION</a:t>
            </a:r>
            <a:r>
              <a:rPr lang="pt-BR" sz="3600" dirty="0" smtClean="0"/>
              <a:t/>
            </a:r>
            <a:br>
              <a:rPr lang="pt-BR" sz="3600" dirty="0" smtClean="0"/>
            </a:br>
            <a:endParaRPr lang="en-US" sz="3600" dirty="0"/>
          </a:p>
        </p:txBody>
      </p:sp>
      <p:pic>
        <p:nvPicPr>
          <p:cNvPr id="14" name="Imagem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7267" y="903785"/>
            <a:ext cx="1386650" cy="381575"/>
          </a:xfrm>
          <a:prstGeom prst="rect">
            <a:avLst/>
          </a:prstGeom>
        </p:spPr>
      </p:pic>
      <p:pic>
        <p:nvPicPr>
          <p:cNvPr id="15" name="Picture 2" descr="Resultado de imagem para EU logo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574"/>
          <a:stretch/>
        </p:blipFill>
        <p:spPr bwMode="auto">
          <a:xfrm>
            <a:off x="10992544" y="283315"/>
            <a:ext cx="639297" cy="546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Espaço Reservado para Conteúdo 2"/>
          <p:cNvSpPr txBox="1">
            <a:spLocks/>
          </p:cNvSpPr>
          <p:nvPr/>
        </p:nvSpPr>
        <p:spPr>
          <a:xfrm>
            <a:off x="931955" y="1507631"/>
            <a:ext cx="6890313" cy="47910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chemeClr val="tx2"/>
              </a:buClr>
              <a:buSzPct val="60000"/>
              <a:buNone/>
            </a:pPr>
            <a:r>
              <a:rPr lang="en-US" sz="18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Research Infrastructure</a:t>
            </a:r>
            <a:endParaRPr lang="en-US" sz="18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0" name="Espaço Reservado para Conteúdo 2"/>
          <p:cNvSpPr txBox="1">
            <a:spLocks/>
          </p:cNvSpPr>
          <p:nvPr/>
        </p:nvSpPr>
        <p:spPr>
          <a:xfrm>
            <a:off x="1690948" y="2070862"/>
            <a:ext cx="5606973" cy="53289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solidFill>
                  <a:srgbClr val="1E521F"/>
                </a:solidFill>
              </a:rPr>
              <a:t>Integrating Activities for Starting Communities</a:t>
            </a:r>
          </a:p>
        </p:txBody>
      </p:sp>
      <p:pic>
        <p:nvPicPr>
          <p:cNvPr id="21" name="Picture 2" descr="Resultado de imagem para brazil butto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5553" y="2364331"/>
            <a:ext cx="234766" cy="23942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Espaço Reservado para Conteúdo 2"/>
          <p:cNvSpPr txBox="1">
            <a:spLocks/>
          </p:cNvSpPr>
          <p:nvPr/>
        </p:nvSpPr>
        <p:spPr>
          <a:xfrm>
            <a:off x="1697934" y="2358894"/>
            <a:ext cx="4274656" cy="3479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eadline: </a:t>
            </a: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03/17/2020 (INFRAIA-02-2020) </a:t>
            </a:r>
          </a:p>
        </p:txBody>
      </p:sp>
      <p:sp>
        <p:nvSpPr>
          <p:cNvPr id="28" name="Espaço Reservado para Conteúdo 2"/>
          <p:cNvSpPr txBox="1">
            <a:spLocks/>
          </p:cNvSpPr>
          <p:nvPr/>
        </p:nvSpPr>
        <p:spPr>
          <a:xfrm>
            <a:off x="1734153" y="4221088"/>
            <a:ext cx="3602748" cy="53981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1800" dirty="0">
                <a:solidFill>
                  <a:srgbClr val="1E521F"/>
                </a:solidFill>
              </a:rPr>
              <a:t>Addressing low vaccine uptake</a:t>
            </a:r>
            <a:br>
              <a:rPr lang="en-US" sz="1800" dirty="0">
                <a:solidFill>
                  <a:srgbClr val="1E521F"/>
                </a:solidFill>
              </a:rPr>
            </a:b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adline: 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07/04/2020 (SC1-BHC-33-2020)</a:t>
            </a:r>
          </a:p>
        </p:txBody>
      </p:sp>
      <p:sp>
        <p:nvSpPr>
          <p:cNvPr id="29" name="Espaço Reservado para Conteúdo 2"/>
          <p:cNvSpPr txBox="1">
            <a:spLocks/>
          </p:cNvSpPr>
          <p:nvPr/>
        </p:nvSpPr>
        <p:spPr>
          <a:xfrm>
            <a:off x="1040879" y="3861048"/>
            <a:ext cx="2440386" cy="530089"/>
          </a:xfrm>
          <a:prstGeom prst="rect">
            <a:avLst/>
          </a:prstGeom>
        </p:spPr>
        <p:txBody>
          <a:bodyPr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Clr>
                <a:schemeClr val="tx2"/>
              </a:buClr>
              <a:buSzPct val="60000"/>
              <a:buFont typeface="Arial"/>
              <a:buChar char="•"/>
              <a:defRPr sz="2000" b="0" i="0" kern="1200" baseline="0">
                <a:solidFill>
                  <a:schemeClr val="tx1"/>
                </a:solidFill>
                <a:latin typeface="CooperHewitt-Medium"/>
                <a:ea typeface="+mn-ea"/>
                <a:cs typeface="CooperHewitt-Medium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Clr>
                <a:schemeClr val="tx2"/>
              </a:buClr>
              <a:buSzPct val="60000"/>
              <a:buFont typeface="Arial"/>
              <a:buChar char="•"/>
              <a:defRPr sz="2000" b="0" i="0" kern="1200" baseline="0">
                <a:solidFill>
                  <a:schemeClr val="tx1"/>
                </a:solidFill>
                <a:latin typeface="CooperHewitt-Medium"/>
                <a:ea typeface="+mn-ea"/>
                <a:cs typeface="CooperHewitt-Medium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Clr>
                <a:schemeClr val="tx2"/>
              </a:buClr>
              <a:buSzPct val="60000"/>
              <a:buFont typeface="Arial"/>
              <a:buChar char="•"/>
              <a:defRPr sz="1800" b="0" i="0" kern="1200" baseline="0">
                <a:solidFill>
                  <a:schemeClr val="tx1"/>
                </a:solidFill>
                <a:latin typeface="CooperHewitt-Medium"/>
                <a:ea typeface="+mn-ea"/>
                <a:cs typeface="CooperHewitt-Medium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Clr>
                <a:schemeClr val="tx2"/>
              </a:buClr>
              <a:buSzPct val="60000"/>
              <a:buFont typeface="Arial"/>
              <a:buChar char="•"/>
              <a:defRPr sz="1400" b="0" i="0" kern="1200" baseline="0">
                <a:solidFill>
                  <a:schemeClr val="tx1"/>
                </a:solidFill>
                <a:latin typeface="CooperHewitt-Medium"/>
                <a:ea typeface="+mn-ea"/>
                <a:cs typeface="CooperHewitt-Medium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Clr>
                <a:schemeClr val="tx2"/>
              </a:buClr>
              <a:buSzPct val="60000"/>
              <a:buFont typeface="Arial"/>
              <a:buChar char="•"/>
              <a:defRPr sz="1200" b="0" i="0" kern="1200" baseline="0">
                <a:solidFill>
                  <a:schemeClr val="tx1"/>
                </a:solidFill>
                <a:latin typeface="CooperHewitt-Medium"/>
                <a:ea typeface="+mn-ea"/>
                <a:cs typeface="CooperHewitt-Medium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00">
              <a:lnSpc>
                <a:spcPct val="90000"/>
              </a:lnSpc>
              <a:spcBef>
                <a:spcPts val="1000"/>
              </a:spcBef>
              <a:buFont typeface="Arial"/>
              <a:buNone/>
            </a:pPr>
            <a:r>
              <a:rPr lang="en-US" sz="1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+mn-cs"/>
              </a:rPr>
              <a:t>Health</a:t>
            </a:r>
          </a:p>
        </p:txBody>
      </p:sp>
      <p:sp>
        <p:nvSpPr>
          <p:cNvPr id="30" name="Espaço Reservado para Conteúdo 2"/>
          <p:cNvSpPr txBox="1">
            <a:spLocks/>
          </p:cNvSpPr>
          <p:nvPr/>
        </p:nvSpPr>
        <p:spPr>
          <a:xfrm>
            <a:off x="954170" y="2780928"/>
            <a:ext cx="6746867" cy="3906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cience with and for Societies</a:t>
            </a:r>
          </a:p>
        </p:txBody>
      </p:sp>
      <p:sp>
        <p:nvSpPr>
          <p:cNvPr id="31" name="Retângulo 30"/>
          <p:cNvSpPr/>
          <p:nvPr/>
        </p:nvSpPr>
        <p:spPr>
          <a:xfrm>
            <a:off x="1695593" y="3140968"/>
            <a:ext cx="705678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rgbClr val="1E521F"/>
                </a:solidFill>
              </a:rPr>
              <a:t>Hands-on citizen science and frugal innovation</a:t>
            </a:r>
            <a:endParaRPr lang="pt-BR" sz="1800" dirty="0">
              <a:solidFill>
                <a:srgbClr val="1E521F"/>
              </a:solidFill>
            </a:endParaRPr>
          </a:p>
        </p:txBody>
      </p:sp>
      <p:sp>
        <p:nvSpPr>
          <p:cNvPr id="32" name="Espaço Reservado para Conteúdo 2"/>
          <p:cNvSpPr txBox="1">
            <a:spLocks/>
          </p:cNvSpPr>
          <p:nvPr/>
        </p:nvSpPr>
        <p:spPr>
          <a:xfrm>
            <a:off x="1697934" y="3429000"/>
            <a:ext cx="3566662" cy="28854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eadline: </a:t>
            </a: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04/15/2020 (SwafS-27-2020)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" name="Espaço Reservado para Conteúdo 2"/>
          <p:cNvSpPr txBox="1">
            <a:spLocks/>
          </p:cNvSpPr>
          <p:nvPr/>
        </p:nvSpPr>
        <p:spPr>
          <a:xfrm>
            <a:off x="1040879" y="4987143"/>
            <a:ext cx="2440386" cy="530089"/>
          </a:xfrm>
          <a:prstGeom prst="rect">
            <a:avLst/>
          </a:prstGeom>
        </p:spPr>
        <p:txBody>
          <a:bodyPr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Clr>
                <a:schemeClr val="tx2"/>
              </a:buClr>
              <a:buSzPct val="60000"/>
              <a:buFont typeface="Arial"/>
              <a:buChar char="•"/>
              <a:defRPr sz="2000" b="0" i="0" kern="1200" baseline="0">
                <a:solidFill>
                  <a:schemeClr val="tx1"/>
                </a:solidFill>
                <a:latin typeface="CooperHewitt-Medium"/>
                <a:ea typeface="+mn-ea"/>
                <a:cs typeface="CooperHewitt-Medium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Clr>
                <a:schemeClr val="tx2"/>
              </a:buClr>
              <a:buSzPct val="60000"/>
              <a:buFont typeface="Arial"/>
              <a:buChar char="•"/>
              <a:defRPr sz="2000" b="0" i="0" kern="1200" baseline="0">
                <a:solidFill>
                  <a:schemeClr val="tx1"/>
                </a:solidFill>
                <a:latin typeface="CooperHewitt-Medium"/>
                <a:ea typeface="+mn-ea"/>
                <a:cs typeface="CooperHewitt-Medium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Clr>
                <a:schemeClr val="tx2"/>
              </a:buClr>
              <a:buSzPct val="60000"/>
              <a:buFont typeface="Arial"/>
              <a:buChar char="•"/>
              <a:defRPr sz="1800" b="0" i="0" kern="1200" baseline="0">
                <a:solidFill>
                  <a:schemeClr val="tx1"/>
                </a:solidFill>
                <a:latin typeface="CooperHewitt-Medium"/>
                <a:ea typeface="+mn-ea"/>
                <a:cs typeface="CooperHewitt-Medium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Clr>
                <a:schemeClr val="tx2"/>
              </a:buClr>
              <a:buSzPct val="60000"/>
              <a:buFont typeface="Arial"/>
              <a:buChar char="•"/>
              <a:defRPr sz="1400" b="0" i="0" kern="1200" baseline="0">
                <a:solidFill>
                  <a:schemeClr val="tx1"/>
                </a:solidFill>
                <a:latin typeface="CooperHewitt-Medium"/>
                <a:ea typeface="+mn-ea"/>
                <a:cs typeface="CooperHewitt-Medium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Clr>
                <a:schemeClr val="tx2"/>
              </a:buClr>
              <a:buSzPct val="60000"/>
              <a:buFont typeface="Arial"/>
              <a:buChar char="•"/>
              <a:defRPr sz="1200" b="0" i="0" kern="1200" baseline="0">
                <a:solidFill>
                  <a:schemeClr val="tx1"/>
                </a:solidFill>
                <a:latin typeface="CooperHewitt-Medium"/>
                <a:ea typeface="+mn-ea"/>
                <a:cs typeface="CooperHewitt-Medium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00">
              <a:lnSpc>
                <a:spcPct val="90000"/>
              </a:lnSpc>
              <a:spcBef>
                <a:spcPts val="1000"/>
              </a:spcBef>
              <a:buFont typeface="Arial"/>
              <a:buNone/>
            </a:pPr>
            <a:r>
              <a:rPr lang="en-US" sz="18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+mn-cs"/>
              </a:rPr>
              <a:t>Migration </a:t>
            </a:r>
            <a:endParaRPr lang="en-US" sz="1800" b="1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1690948" y="5276477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800" dirty="0">
                <a:solidFill>
                  <a:srgbClr val="1E521F"/>
                </a:solidFill>
              </a:rPr>
              <a:t>Narratives on migration and its impact: past and present</a:t>
            </a:r>
          </a:p>
        </p:txBody>
      </p:sp>
      <p:sp>
        <p:nvSpPr>
          <p:cNvPr id="4" name="Retângulo 3"/>
          <p:cNvSpPr/>
          <p:nvPr/>
        </p:nvSpPr>
        <p:spPr>
          <a:xfrm>
            <a:off x="1734153" y="5610547"/>
            <a:ext cx="381976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adline: </a:t>
            </a: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03/12/2020 </a:t>
            </a:r>
            <a:r>
              <a:rPr lang="pt-BR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MIGRATION-09-2020)</a:t>
            </a:r>
            <a:endParaRPr lang="pt-BR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7689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96480" y="653323"/>
            <a:ext cx="9937104" cy="864096"/>
          </a:xfrm>
          <a:prstGeom prst="rect">
            <a:avLst/>
          </a:prstGeom>
        </p:spPr>
        <p:txBody>
          <a:bodyPr/>
          <a:lstStyle/>
          <a:p>
            <a:r>
              <a:rPr lang="pt-BR" sz="3600" dirty="0" smtClean="0"/>
              <a:t>BRAZIL SUCCESS RATE (19,3%)</a:t>
            </a:r>
            <a:r>
              <a:rPr lang="pt-BR" sz="3600" b="1" dirty="0" smtClean="0">
                <a:solidFill>
                  <a:srgbClr val="575756"/>
                </a:solidFill>
              </a:rPr>
              <a:t/>
            </a:r>
            <a:br>
              <a:rPr lang="pt-BR" sz="3600" b="1" dirty="0" smtClean="0">
                <a:solidFill>
                  <a:srgbClr val="575756"/>
                </a:solidFill>
              </a:rPr>
            </a:br>
            <a:endParaRPr lang="en-US" sz="3600" dirty="0"/>
          </a:p>
        </p:txBody>
      </p:sp>
      <p:sp>
        <p:nvSpPr>
          <p:cNvPr id="9" name="Título 1"/>
          <p:cNvSpPr txBox="1">
            <a:spLocks/>
          </p:cNvSpPr>
          <p:nvPr/>
        </p:nvSpPr>
        <p:spPr>
          <a:xfrm>
            <a:off x="911424" y="1431110"/>
            <a:ext cx="11922478" cy="3798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dirty="0">
                <a:latin typeface="+mn-lt"/>
                <a:ea typeface="+mn-ea"/>
                <a:cs typeface="+mn-cs"/>
              </a:rPr>
              <a:t>International average 15.3% after more than 2400 projects</a:t>
            </a: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C281D153-75C8-4FC2-9F7F-E5CD00B626A0}"/>
              </a:ext>
            </a:extLst>
          </p:cNvPr>
          <p:cNvSpPr/>
          <p:nvPr/>
        </p:nvSpPr>
        <p:spPr>
          <a:xfrm>
            <a:off x="145177" y="6132724"/>
            <a:ext cx="1159425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ase">
              <a:buSzPts val="1000"/>
              <a:tabLst>
                <a:tab pos="180340" algn="l"/>
              </a:tabLst>
            </a:pP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ote:</a:t>
            </a: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ata for evaluated eligible proposals. Total BR success rate is 19.3%, compared to 15.3% overall H2020. Source: DG RTD – International Cooperation</a:t>
            </a:r>
            <a:b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ta:</a:t>
            </a: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CORDA (JRC, EIT and art 185 not included); extraction date: 04/02/2019</a:t>
            </a: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23" name="Picture 2"/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42" b="12521"/>
          <a:stretch/>
        </p:blipFill>
        <p:spPr bwMode="auto">
          <a:xfrm>
            <a:off x="2025264" y="1819372"/>
            <a:ext cx="8207375" cy="43194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4" name="Picture 2"/>
          <p:cNvPicPr>
            <a:picLocks noChangeAspect="1" noChangeArrowheads="1"/>
          </p:cNvPicPr>
          <p:nvPr/>
        </p:nvPicPr>
        <p:blipFill rotWithShape="1">
          <a:blip r:embed="rId2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44" t="12897" r="15886" b="31589"/>
          <a:stretch/>
        </p:blipFill>
        <p:spPr bwMode="auto">
          <a:xfrm>
            <a:off x="2669058" y="2198660"/>
            <a:ext cx="6259788" cy="29409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25" name="Conector reto 124"/>
          <p:cNvCxnSpPr/>
          <p:nvPr/>
        </p:nvCxnSpPr>
        <p:spPr>
          <a:xfrm>
            <a:off x="8649928" y="3958701"/>
            <a:ext cx="191729" cy="0"/>
          </a:xfrm>
          <a:prstGeom prst="line">
            <a:avLst/>
          </a:prstGeom>
          <a:ln w="5715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Conector reto 125"/>
          <p:cNvCxnSpPr/>
          <p:nvPr/>
        </p:nvCxnSpPr>
        <p:spPr>
          <a:xfrm>
            <a:off x="8088886" y="4622088"/>
            <a:ext cx="191729" cy="0"/>
          </a:xfrm>
          <a:prstGeom prst="line">
            <a:avLst/>
          </a:prstGeom>
          <a:ln w="5715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Conector reto 126"/>
          <p:cNvCxnSpPr/>
          <p:nvPr/>
        </p:nvCxnSpPr>
        <p:spPr>
          <a:xfrm>
            <a:off x="7733288" y="4743113"/>
            <a:ext cx="191729" cy="0"/>
          </a:xfrm>
          <a:prstGeom prst="line">
            <a:avLst/>
          </a:prstGeom>
          <a:ln w="5715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Conector reto 127"/>
          <p:cNvCxnSpPr/>
          <p:nvPr/>
        </p:nvCxnSpPr>
        <p:spPr>
          <a:xfrm>
            <a:off x="7383664" y="4467452"/>
            <a:ext cx="191729" cy="0"/>
          </a:xfrm>
          <a:prstGeom prst="line">
            <a:avLst/>
          </a:prstGeom>
          <a:ln w="5715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Conector reto 128"/>
          <p:cNvCxnSpPr/>
          <p:nvPr/>
        </p:nvCxnSpPr>
        <p:spPr>
          <a:xfrm>
            <a:off x="7047487" y="4534684"/>
            <a:ext cx="191729" cy="0"/>
          </a:xfrm>
          <a:prstGeom prst="line">
            <a:avLst/>
          </a:prstGeom>
          <a:ln w="5715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Conector reto 129"/>
          <p:cNvCxnSpPr/>
          <p:nvPr/>
        </p:nvCxnSpPr>
        <p:spPr>
          <a:xfrm>
            <a:off x="6690769" y="4123542"/>
            <a:ext cx="191729" cy="0"/>
          </a:xfrm>
          <a:prstGeom prst="line">
            <a:avLst/>
          </a:prstGeom>
          <a:ln w="5715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Conector reto 130"/>
          <p:cNvCxnSpPr/>
          <p:nvPr/>
        </p:nvCxnSpPr>
        <p:spPr>
          <a:xfrm>
            <a:off x="5996923" y="4280677"/>
            <a:ext cx="191729" cy="0"/>
          </a:xfrm>
          <a:prstGeom prst="line">
            <a:avLst/>
          </a:prstGeom>
          <a:ln w="5715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Conector reto 131"/>
          <p:cNvCxnSpPr/>
          <p:nvPr/>
        </p:nvCxnSpPr>
        <p:spPr>
          <a:xfrm>
            <a:off x="5648581" y="3927601"/>
            <a:ext cx="191729" cy="0"/>
          </a:xfrm>
          <a:prstGeom prst="line">
            <a:avLst/>
          </a:prstGeom>
          <a:ln w="5715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Conector reto 132"/>
          <p:cNvCxnSpPr/>
          <p:nvPr/>
        </p:nvCxnSpPr>
        <p:spPr>
          <a:xfrm>
            <a:off x="5300238" y="4263624"/>
            <a:ext cx="191729" cy="0"/>
          </a:xfrm>
          <a:prstGeom prst="line">
            <a:avLst/>
          </a:prstGeom>
          <a:ln w="5715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Conector reto 133"/>
          <p:cNvCxnSpPr/>
          <p:nvPr/>
        </p:nvCxnSpPr>
        <p:spPr>
          <a:xfrm>
            <a:off x="4958116" y="4123542"/>
            <a:ext cx="191729" cy="0"/>
          </a:xfrm>
          <a:prstGeom prst="line">
            <a:avLst/>
          </a:prstGeom>
          <a:ln w="5715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Conector reto 134"/>
          <p:cNvCxnSpPr/>
          <p:nvPr/>
        </p:nvCxnSpPr>
        <p:spPr>
          <a:xfrm>
            <a:off x="4603553" y="3868506"/>
            <a:ext cx="191729" cy="0"/>
          </a:xfrm>
          <a:prstGeom prst="line">
            <a:avLst/>
          </a:prstGeom>
          <a:ln w="5715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Conector reto 135"/>
          <p:cNvCxnSpPr/>
          <p:nvPr/>
        </p:nvCxnSpPr>
        <p:spPr>
          <a:xfrm>
            <a:off x="4253127" y="4392952"/>
            <a:ext cx="191729" cy="0"/>
          </a:xfrm>
          <a:prstGeom prst="line">
            <a:avLst/>
          </a:prstGeom>
          <a:ln w="5715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Conector reto 136"/>
          <p:cNvCxnSpPr/>
          <p:nvPr/>
        </p:nvCxnSpPr>
        <p:spPr>
          <a:xfrm>
            <a:off x="3564744" y="4332294"/>
            <a:ext cx="191729" cy="0"/>
          </a:xfrm>
          <a:prstGeom prst="line">
            <a:avLst/>
          </a:prstGeom>
          <a:ln w="5715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ector reto 137"/>
          <p:cNvCxnSpPr/>
          <p:nvPr/>
        </p:nvCxnSpPr>
        <p:spPr>
          <a:xfrm>
            <a:off x="3216402" y="4826448"/>
            <a:ext cx="191729" cy="0"/>
          </a:xfrm>
          <a:prstGeom prst="line">
            <a:avLst/>
          </a:prstGeom>
          <a:ln w="5715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Conector reto 138"/>
          <p:cNvCxnSpPr/>
          <p:nvPr/>
        </p:nvCxnSpPr>
        <p:spPr>
          <a:xfrm>
            <a:off x="2861839" y="4743113"/>
            <a:ext cx="191729" cy="0"/>
          </a:xfrm>
          <a:prstGeom prst="line">
            <a:avLst/>
          </a:prstGeom>
          <a:ln w="5715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Conector reto 139"/>
          <p:cNvCxnSpPr/>
          <p:nvPr/>
        </p:nvCxnSpPr>
        <p:spPr>
          <a:xfrm>
            <a:off x="6352430" y="3137603"/>
            <a:ext cx="191729" cy="0"/>
          </a:xfrm>
          <a:prstGeom prst="line">
            <a:avLst/>
          </a:prstGeom>
          <a:ln w="5715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Conector reto 140"/>
          <p:cNvCxnSpPr/>
          <p:nvPr/>
        </p:nvCxnSpPr>
        <p:spPr>
          <a:xfrm>
            <a:off x="3906722" y="3165342"/>
            <a:ext cx="191729" cy="0"/>
          </a:xfrm>
          <a:prstGeom prst="line">
            <a:avLst/>
          </a:prstGeom>
          <a:ln w="5715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Conector reto 141"/>
          <p:cNvCxnSpPr/>
          <p:nvPr/>
        </p:nvCxnSpPr>
        <p:spPr>
          <a:xfrm>
            <a:off x="8088886" y="4552612"/>
            <a:ext cx="191729" cy="0"/>
          </a:xfrm>
          <a:prstGeom prst="line">
            <a:avLst/>
          </a:prstGeom>
          <a:ln w="57150">
            <a:solidFill>
              <a:srgbClr val="1E52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Conector reto 142"/>
          <p:cNvCxnSpPr/>
          <p:nvPr/>
        </p:nvCxnSpPr>
        <p:spPr>
          <a:xfrm>
            <a:off x="7733288" y="4540660"/>
            <a:ext cx="191729" cy="0"/>
          </a:xfrm>
          <a:prstGeom prst="line">
            <a:avLst/>
          </a:prstGeom>
          <a:ln w="57150">
            <a:solidFill>
              <a:srgbClr val="1E52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Conector reto 143"/>
          <p:cNvCxnSpPr/>
          <p:nvPr/>
        </p:nvCxnSpPr>
        <p:spPr>
          <a:xfrm>
            <a:off x="7383664" y="4509120"/>
            <a:ext cx="191729" cy="0"/>
          </a:xfrm>
          <a:prstGeom prst="line">
            <a:avLst/>
          </a:prstGeom>
          <a:ln w="57150">
            <a:solidFill>
              <a:srgbClr val="1E52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Conector reto 144"/>
          <p:cNvCxnSpPr/>
          <p:nvPr/>
        </p:nvCxnSpPr>
        <p:spPr>
          <a:xfrm>
            <a:off x="7043906" y="4719209"/>
            <a:ext cx="191729" cy="0"/>
          </a:xfrm>
          <a:prstGeom prst="line">
            <a:avLst/>
          </a:prstGeom>
          <a:ln w="57150">
            <a:solidFill>
              <a:srgbClr val="1E52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Conector reto 145"/>
          <p:cNvCxnSpPr/>
          <p:nvPr/>
        </p:nvCxnSpPr>
        <p:spPr>
          <a:xfrm>
            <a:off x="6690769" y="4051167"/>
            <a:ext cx="191729" cy="0"/>
          </a:xfrm>
          <a:prstGeom prst="line">
            <a:avLst/>
          </a:prstGeom>
          <a:ln w="57150">
            <a:solidFill>
              <a:srgbClr val="1E52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Conector reto 146"/>
          <p:cNvCxnSpPr/>
          <p:nvPr/>
        </p:nvCxnSpPr>
        <p:spPr>
          <a:xfrm>
            <a:off x="6352430" y="3640531"/>
            <a:ext cx="191729" cy="0"/>
          </a:xfrm>
          <a:prstGeom prst="line">
            <a:avLst/>
          </a:prstGeom>
          <a:ln w="57150">
            <a:solidFill>
              <a:srgbClr val="1E52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Conector reto 147"/>
          <p:cNvCxnSpPr/>
          <p:nvPr/>
        </p:nvCxnSpPr>
        <p:spPr>
          <a:xfrm>
            <a:off x="5996923" y="4332294"/>
            <a:ext cx="191729" cy="0"/>
          </a:xfrm>
          <a:prstGeom prst="line">
            <a:avLst/>
          </a:prstGeom>
          <a:ln w="57150">
            <a:solidFill>
              <a:srgbClr val="1E52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Conector reto 148"/>
          <p:cNvCxnSpPr/>
          <p:nvPr/>
        </p:nvCxnSpPr>
        <p:spPr>
          <a:xfrm>
            <a:off x="5655615" y="4089174"/>
            <a:ext cx="191729" cy="0"/>
          </a:xfrm>
          <a:prstGeom prst="line">
            <a:avLst/>
          </a:prstGeom>
          <a:ln w="57150">
            <a:solidFill>
              <a:srgbClr val="1E52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Conector reto 149"/>
          <p:cNvCxnSpPr/>
          <p:nvPr/>
        </p:nvCxnSpPr>
        <p:spPr>
          <a:xfrm>
            <a:off x="4958116" y="4256838"/>
            <a:ext cx="191729" cy="0"/>
          </a:xfrm>
          <a:prstGeom prst="line">
            <a:avLst/>
          </a:prstGeom>
          <a:ln w="57150">
            <a:solidFill>
              <a:srgbClr val="1E52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Conector reto 150"/>
          <p:cNvCxnSpPr/>
          <p:nvPr/>
        </p:nvCxnSpPr>
        <p:spPr>
          <a:xfrm>
            <a:off x="5300238" y="4477726"/>
            <a:ext cx="191729" cy="0"/>
          </a:xfrm>
          <a:prstGeom prst="line">
            <a:avLst/>
          </a:prstGeom>
          <a:ln w="57150">
            <a:solidFill>
              <a:srgbClr val="1E52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ector reto 151"/>
          <p:cNvCxnSpPr/>
          <p:nvPr/>
        </p:nvCxnSpPr>
        <p:spPr>
          <a:xfrm>
            <a:off x="4255210" y="4450392"/>
            <a:ext cx="191729" cy="0"/>
          </a:xfrm>
          <a:prstGeom prst="line">
            <a:avLst/>
          </a:prstGeom>
          <a:ln w="57150">
            <a:solidFill>
              <a:srgbClr val="1E52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Conector reto 152"/>
          <p:cNvCxnSpPr/>
          <p:nvPr/>
        </p:nvCxnSpPr>
        <p:spPr>
          <a:xfrm>
            <a:off x="4603553" y="4376286"/>
            <a:ext cx="191729" cy="0"/>
          </a:xfrm>
          <a:prstGeom prst="line">
            <a:avLst/>
          </a:prstGeom>
          <a:ln w="57150">
            <a:solidFill>
              <a:srgbClr val="1E52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Conector reto 153"/>
          <p:cNvCxnSpPr/>
          <p:nvPr/>
        </p:nvCxnSpPr>
        <p:spPr>
          <a:xfrm>
            <a:off x="3568863" y="4569088"/>
            <a:ext cx="191729" cy="0"/>
          </a:xfrm>
          <a:prstGeom prst="line">
            <a:avLst/>
          </a:prstGeom>
          <a:ln w="57150">
            <a:solidFill>
              <a:srgbClr val="1E52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Conector reto 154"/>
          <p:cNvCxnSpPr/>
          <p:nvPr/>
        </p:nvCxnSpPr>
        <p:spPr>
          <a:xfrm>
            <a:off x="3216402" y="4685170"/>
            <a:ext cx="191729" cy="0"/>
          </a:xfrm>
          <a:prstGeom prst="line">
            <a:avLst/>
          </a:prstGeom>
          <a:ln w="57150">
            <a:solidFill>
              <a:srgbClr val="1E52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Conector reto 155"/>
          <p:cNvCxnSpPr/>
          <p:nvPr/>
        </p:nvCxnSpPr>
        <p:spPr>
          <a:xfrm>
            <a:off x="2861839" y="4563652"/>
            <a:ext cx="191729" cy="0"/>
          </a:xfrm>
          <a:prstGeom prst="line">
            <a:avLst/>
          </a:prstGeom>
          <a:ln w="57150">
            <a:solidFill>
              <a:srgbClr val="1E52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Conector reto 156"/>
          <p:cNvCxnSpPr/>
          <p:nvPr/>
        </p:nvCxnSpPr>
        <p:spPr>
          <a:xfrm>
            <a:off x="3906722" y="3223279"/>
            <a:ext cx="191729" cy="0"/>
          </a:xfrm>
          <a:prstGeom prst="line">
            <a:avLst/>
          </a:prstGeom>
          <a:ln w="57150">
            <a:solidFill>
              <a:srgbClr val="1E52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Conector reto 157"/>
          <p:cNvCxnSpPr/>
          <p:nvPr/>
        </p:nvCxnSpPr>
        <p:spPr>
          <a:xfrm>
            <a:off x="8644549" y="3732966"/>
            <a:ext cx="191729" cy="0"/>
          </a:xfrm>
          <a:prstGeom prst="line">
            <a:avLst/>
          </a:prstGeom>
          <a:ln w="57150">
            <a:solidFill>
              <a:srgbClr val="1E52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Imagem 4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7267" y="903785"/>
            <a:ext cx="1386650" cy="381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48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9456" y="692696"/>
            <a:ext cx="11346714" cy="864096"/>
          </a:xfrm>
          <a:prstGeom prst="rect">
            <a:avLst/>
          </a:prstGeom>
        </p:spPr>
        <p:txBody>
          <a:bodyPr/>
          <a:lstStyle/>
          <a:p>
            <a:r>
              <a:rPr lang="pt-BR" sz="3600" dirty="0" smtClean="0"/>
              <a:t>CONTACT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99456" y="4005064"/>
            <a:ext cx="10153128" cy="1804753"/>
          </a:xfrm>
        </p:spPr>
        <p:txBody>
          <a:bodyPr/>
          <a:lstStyle/>
          <a:p>
            <a:pPr marL="0" indent="0">
              <a:buNone/>
            </a:pPr>
            <a:endParaRPr lang="en-US" sz="2200" dirty="0" smtClean="0">
              <a:latin typeface="CooperHewitt-Semibold"/>
            </a:endParaRPr>
          </a:p>
          <a:p>
            <a:pPr marL="0" indent="0">
              <a:buNone/>
            </a:pPr>
            <a:r>
              <a:rPr lang="en-US" sz="2200" dirty="0" smtClean="0">
                <a:latin typeface="CooperHewitt-Semibold"/>
              </a:rPr>
              <a:t>Goret Pereira Paulo </a:t>
            </a:r>
            <a:br>
              <a:rPr lang="en-US" sz="2200" dirty="0" smtClean="0">
                <a:latin typeface="CooperHewitt-Semibold"/>
              </a:rPr>
            </a:br>
            <a:r>
              <a:rPr lang="en-US" sz="2200" dirty="0" smtClean="0">
                <a:latin typeface="CooperHewitt-Semibold"/>
                <a:hlinkClick r:id="rId2"/>
              </a:rPr>
              <a:t>Goret.Paulo@fgv.br</a:t>
            </a:r>
            <a:r>
              <a:rPr lang="en-US" sz="2200" dirty="0" smtClean="0">
                <a:latin typeface="CooperHewitt-Semibold"/>
              </a:rPr>
              <a:t> </a:t>
            </a:r>
            <a:br>
              <a:rPr lang="en-US" sz="2200" dirty="0" smtClean="0">
                <a:latin typeface="CooperHewitt-Semibold"/>
              </a:rPr>
            </a:br>
            <a:r>
              <a:rPr lang="en-US" sz="2200" dirty="0" err="1" smtClean="0">
                <a:latin typeface="CooperHewitt-Semibold"/>
              </a:rPr>
              <a:t>Fundação</a:t>
            </a:r>
            <a:r>
              <a:rPr lang="en-US" sz="2200" dirty="0" smtClean="0">
                <a:latin typeface="CooperHewitt-Semibold"/>
              </a:rPr>
              <a:t> </a:t>
            </a:r>
            <a:r>
              <a:rPr lang="en-US" sz="2200" dirty="0" err="1" smtClean="0">
                <a:latin typeface="CooperHewitt-Semibold"/>
              </a:rPr>
              <a:t>Getulio</a:t>
            </a:r>
            <a:r>
              <a:rPr lang="en-US" sz="2200" dirty="0" smtClean="0">
                <a:latin typeface="CooperHewitt-Semibold"/>
              </a:rPr>
              <a:t> Vargas</a:t>
            </a:r>
            <a:br>
              <a:rPr lang="en-US" sz="2200" dirty="0" smtClean="0">
                <a:latin typeface="CooperHewitt-Semibold"/>
              </a:rPr>
            </a:br>
            <a:r>
              <a:rPr lang="en-US" sz="2200" dirty="0" smtClean="0">
                <a:latin typeface="CooperHewitt-Semibold"/>
              </a:rPr>
              <a:t>Brazil</a:t>
            </a:r>
            <a:endParaRPr lang="en-US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7267" y="903785"/>
            <a:ext cx="1386650" cy="381575"/>
          </a:xfrm>
          <a:prstGeom prst="rect">
            <a:avLst/>
          </a:prstGeom>
        </p:spPr>
      </p:pic>
      <p:sp>
        <p:nvSpPr>
          <p:cNvPr id="4" name="Retângulo 3"/>
          <p:cNvSpPr/>
          <p:nvPr/>
        </p:nvSpPr>
        <p:spPr>
          <a:xfrm>
            <a:off x="1201534" y="5809817"/>
            <a:ext cx="302730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800" dirty="0">
                <a:latin typeface="CooperHewitt-Semibold"/>
                <a:cs typeface="CooperHewitt-Medium"/>
                <a:hlinkClick r:id="rId4"/>
              </a:rPr>
              <a:t>https://cooperacaoeu.fgv.br/</a:t>
            </a:r>
            <a:endParaRPr lang="pt-BR" sz="1800" dirty="0">
              <a:latin typeface="CooperHewitt-Semibold"/>
              <a:cs typeface="CooperHewitt-Medium"/>
            </a:endParaRPr>
          </a:p>
        </p:txBody>
      </p:sp>
    </p:spTree>
    <p:extLst>
      <p:ext uri="{BB962C8B-B14F-4D97-AF65-F5344CB8AC3E}">
        <p14:creationId xmlns:p14="http://schemas.microsoft.com/office/powerpoint/2010/main" val="1245977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9456" y="692696"/>
            <a:ext cx="11346714" cy="864096"/>
          </a:xfrm>
          <a:prstGeom prst="rect">
            <a:avLst/>
          </a:prstGeom>
        </p:spPr>
        <p:txBody>
          <a:bodyPr/>
          <a:lstStyle/>
          <a:p>
            <a:r>
              <a:rPr lang="pt-BR" sz="3600" dirty="0" smtClean="0"/>
              <a:t>ABOUT FGV</a:t>
            </a:r>
            <a:endParaRPr lang="en-US" sz="3600" dirty="0"/>
          </a:p>
        </p:txBody>
      </p:sp>
      <p:sp>
        <p:nvSpPr>
          <p:cNvPr id="5" name="Retângulo 4"/>
          <p:cNvSpPr/>
          <p:nvPr/>
        </p:nvSpPr>
        <p:spPr>
          <a:xfrm>
            <a:off x="767408" y="2204864"/>
            <a:ext cx="10081120" cy="26314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21945" marR="205740" algn="just">
              <a:lnSpc>
                <a:spcPct val="150000"/>
              </a:lnSpc>
              <a:spcBef>
                <a:spcPts val="55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1E521F"/>
                </a:solidFill>
                <a:latin typeface="CooperHewitt-Semibold"/>
                <a:ea typeface="+mj-ea"/>
                <a:cs typeface="CooperHewitt-Semibold"/>
              </a:rPr>
              <a:t>Fundação Getulio Vargas (FGV) </a:t>
            </a:r>
            <a:r>
              <a:rPr lang="en-US" sz="1800" dirty="0">
                <a:latin typeface="CooperHewitt-Semibold"/>
                <a:cs typeface="CooperHewitt-Medium"/>
              </a:rPr>
              <a:t>was considered to be one of the </a:t>
            </a:r>
            <a:r>
              <a:rPr lang="en-US" sz="1800" b="1" dirty="0">
                <a:solidFill>
                  <a:srgbClr val="1E521F"/>
                </a:solidFill>
                <a:latin typeface="CooperHewitt-Semibold"/>
                <a:ea typeface="+mj-ea"/>
                <a:cs typeface="CooperHewitt-Semibold"/>
              </a:rPr>
              <a:t>six most important think tanks in the world</a:t>
            </a:r>
            <a:r>
              <a:rPr lang="en-US" sz="1800" dirty="0">
                <a:solidFill>
                  <a:srgbClr val="575756"/>
                </a:solidFill>
                <a:ea typeface="Myriad Pro Light"/>
                <a:cs typeface="Myriad Pro Light"/>
              </a:rPr>
              <a:t>. </a:t>
            </a:r>
            <a:r>
              <a:rPr lang="en-US" sz="1800" dirty="0">
                <a:latin typeface="CooperHewitt-Semibold"/>
                <a:cs typeface="CooperHewitt-Medium"/>
              </a:rPr>
              <a:t>Besides this general classification among the top think tanks, FGV was also ranked as the </a:t>
            </a:r>
            <a:r>
              <a:rPr lang="en-US" sz="1800" b="1" dirty="0">
                <a:solidFill>
                  <a:srgbClr val="1E521F"/>
                </a:solidFill>
                <a:latin typeface="CooperHewitt-Semibold"/>
                <a:ea typeface="+mj-ea"/>
                <a:cs typeface="CooperHewitt-Semibold"/>
              </a:rPr>
              <a:t>best institution </a:t>
            </a:r>
            <a:r>
              <a:rPr lang="en-US" sz="1800" dirty="0">
                <a:latin typeface="CooperHewitt-Semibold"/>
                <a:cs typeface="CooperHewitt-Medium"/>
              </a:rPr>
              <a:t>in this category in </a:t>
            </a:r>
            <a:r>
              <a:rPr lang="en-US" sz="1800" b="1" dirty="0">
                <a:solidFill>
                  <a:srgbClr val="1E521F"/>
                </a:solidFill>
                <a:latin typeface="CooperHewitt-Semibold"/>
                <a:ea typeface="+mj-ea"/>
                <a:cs typeface="CooperHewitt-Semibold"/>
              </a:rPr>
              <a:t>South and Central America</a:t>
            </a:r>
            <a:r>
              <a:rPr lang="en-US" sz="2000" b="1" dirty="0">
                <a:solidFill>
                  <a:srgbClr val="575756"/>
                </a:solidFill>
                <a:ea typeface="Myriad Pro Light"/>
                <a:cs typeface="Myriad Pro Light"/>
              </a:rPr>
              <a:t> </a:t>
            </a:r>
            <a:r>
              <a:rPr lang="en-US" sz="1800" dirty="0">
                <a:latin typeface="CooperHewitt-Semibold"/>
                <a:cs typeface="CooperHewitt-Medium"/>
              </a:rPr>
              <a:t>and the </a:t>
            </a:r>
            <a:r>
              <a:rPr lang="en-US" sz="1800" b="1" dirty="0">
                <a:solidFill>
                  <a:srgbClr val="1E521F"/>
                </a:solidFill>
                <a:latin typeface="CooperHewitt-Semibold"/>
                <a:ea typeface="+mj-ea"/>
                <a:cs typeface="CooperHewitt-Semibold"/>
              </a:rPr>
              <a:t>tenth leading institution in the world </a:t>
            </a:r>
            <a:r>
              <a:rPr lang="en-US" sz="1800" dirty="0">
                <a:latin typeface="CooperHewitt-Semibold"/>
                <a:cs typeface="CooperHewitt-Medium"/>
              </a:rPr>
              <a:t>with focus on production of applied research with impact on the implementation of public policies. Finally, in the specific area of social policies, </a:t>
            </a:r>
            <a:r>
              <a:rPr lang="en-US" sz="1800" b="1" dirty="0">
                <a:solidFill>
                  <a:srgbClr val="1E521F"/>
                </a:solidFill>
                <a:latin typeface="CooperHewitt-Semibold"/>
                <a:ea typeface="+mj-ea"/>
                <a:cs typeface="CooperHewitt-Semibold"/>
              </a:rPr>
              <a:t>FGV occupies fifth place in the world</a:t>
            </a:r>
            <a:r>
              <a:rPr lang="en-US" sz="1600" dirty="0">
                <a:solidFill>
                  <a:srgbClr val="575756"/>
                </a:solidFill>
                <a:ea typeface="Myriad Pro Light"/>
                <a:cs typeface="Myriad Pro Light"/>
              </a:rPr>
              <a:t>. </a:t>
            </a:r>
            <a:endParaRPr lang="pt-BR" sz="1600" dirty="0">
              <a:solidFill>
                <a:srgbClr val="575756"/>
              </a:solidFill>
              <a:ea typeface="Myriad Pro Light"/>
              <a:cs typeface="Myriad Pro Light"/>
            </a:endParaRPr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7681" y="829974"/>
            <a:ext cx="1856236" cy="510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95964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9456" y="692696"/>
            <a:ext cx="11346714" cy="864096"/>
          </a:xfrm>
          <a:prstGeom prst="rect">
            <a:avLst/>
          </a:prstGeom>
        </p:spPr>
        <p:txBody>
          <a:bodyPr/>
          <a:lstStyle/>
          <a:p>
            <a:r>
              <a:rPr lang="en-US" sz="3600" dirty="0" smtClean="0"/>
              <a:t>FGV’S SCHOOLS AND CENTERS</a:t>
            </a:r>
            <a:endParaRPr lang="en-US" sz="3600" dirty="0"/>
          </a:p>
        </p:txBody>
      </p:sp>
      <p:sp>
        <p:nvSpPr>
          <p:cNvPr id="6" name="Retângulo 5"/>
          <p:cNvSpPr/>
          <p:nvPr/>
        </p:nvSpPr>
        <p:spPr>
          <a:xfrm>
            <a:off x="335360" y="1628800"/>
            <a:ext cx="10787177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21945" marR="205105" algn="just">
              <a:lnSpc>
                <a:spcPct val="150000"/>
              </a:lnSpc>
              <a:spcBef>
                <a:spcPts val="505"/>
              </a:spcBef>
              <a:spcAft>
                <a:spcPts val="0"/>
              </a:spcAft>
            </a:pPr>
            <a:r>
              <a:rPr lang="en-US" sz="1400" dirty="0"/>
              <a:t>The schools and research centers at FGV have complete academic and operational independence. </a:t>
            </a:r>
            <a:r>
              <a:rPr lang="en-US" sz="1400" dirty="0" smtClean="0"/>
              <a:t>Each </a:t>
            </a:r>
            <a:r>
              <a:rPr lang="en-US" sz="1400" dirty="0"/>
              <a:t>year, these units, with their </a:t>
            </a:r>
            <a:r>
              <a:rPr lang="en-US" sz="1400" b="1" dirty="0">
                <a:solidFill>
                  <a:srgbClr val="1E521F"/>
                </a:solidFill>
              </a:rPr>
              <a:t>716 researchers</a:t>
            </a:r>
            <a:r>
              <a:rPr lang="en-US" sz="1400" dirty="0">
                <a:ea typeface="Myriad Pro Light"/>
                <a:cs typeface="Myriad Pro Light"/>
              </a:rPr>
              <a:t>, </a:t>
            </a:r>
            <a:r>
              <a:rPr lang="en-US" sz="1400" dirty="0"/>
              <a:t>are responsible for </a:t>
            </a:r>
            <a:r>
              <a:rPr lang="en-US" sz="1400" b="1" dirty="0">
                <a:solidFill>
                  <a:srgbClr val="1E521F"/>
                </a:solidFill>
              </a:rPr>
              <a:t>producing hundreds of articles and other academic texts </a:t>
            </a:r>
            <a:r>
              <a:rPr lang="en-US" sz="1400" dirty="0"/>
              <a:t>which serve as a base for public debates among researchers and representatives of the public and private sectors. </a:t>
            </a:r>
          </a:p>
        </p:txBody>
      </p:sp>
      <p:sp>
        <p:nvSpPr>
          <p:cNvPr id="7" name="Retângulo 6"/>
          <p:cNvSpPr/>
          <p:nvPr/>
        </p:nvSpPr>
        <p:spPr>
          <a:xfrm>
            <a:off x="368116" y="3033733"/>
            <a:ext cx="4359731" cy="31922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21945" marR="205105" algn="just">
              <a:lnSpc>
                <a:spcPct val="126000"/>
              </a:lnSpc>
              <a:spcBef>
                <a:spcPts val="505"/>
              </a:spcBef>
              <a:spcAft>
                <a:spcPts val="0"/>
              </a:spcAft>
            </a:pPr>
            <a:r>
              <a:rPr lang="en-US" sz="1400" dirty="0" smtClean="0">
                <a:ea typeface="Myriad Pro Light"/>
                <a:cs typeface="Myriad Pro Light"/>
              </a:rPr>
              <a:t>In </a:t>
            </a:r>
            <a:r>
              <a:rPr lang="en-US" sz="1400" dirty="0">
                <a:ea typeface="Myriad Pro Light"/>
                <a:cs typeface="Myriad Pro Light"/>
              </a:rPr>
              <a:t>the past two </a:t>
            </a:r>
            <a:r>
              <a:rPr lang="en-US" sz="1400" dirty="0" smtClean="0">
                <a:ea typeface="Myriad Pro Light"/>
                <a:cs typeface="Myriad Pro Light"/>
              </a:rPr>
              <a:t>years: </a:t>
            </a:r>
          </a:p>
          <a:p>
            <a:pPr marL="321945" marR="205105" algn="just">
              <a:lnSpc>
                <a:spcPct val="126000"/>
              </a:lnSpc>
              <a:spcBef>
                <a:spcPts val="505"/>
              </a:spcBef>
              <a:spcAft>
                <a:spcPts val="0"/>
              </a:spcAft>
            </a:pPr>
            <a:endParaRPr lang="en-US" sz="1400" dirty="0" smtClean="0">
              <a:ea typeface="Myriad Pro Light"/>
              <a:cs typeface="Myriad Pro Light"/>
            </a:endParaRPr>
          </a:p>
          <a:p>
            <a:pPr marL="261938" marR="205105" indent="287338" algn="just">
              <a:lnSpc>
                <a:spcPct val="126000"/>
              </a:lnSpc>
              <a:spcBef>
                <a:spcPts val="505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 smtClean="0">
                <a:ea typeface="Myriad Pro Light"/>
                <a:cs typeface="Myriad Pro Light"/>
              </a:rPr>
              <a:t>The </a:t>
            </a:r>
            <a:r>
              <a:rPr lang="en-US" sz="1400" dirty="0">
                <a:ea typeface="Myriad Pro Light"/>
                <a:cs typeface="Myriad Pro Light"/>
              </a:rPr>
              <a:t>researchers </a:t>
            </a:r>
            <a:r>
              <a:rPr lang="en-US" sz="1400" dirty="0" smtClean="0">
                <a:ea typeface="Myriad Pro Light"/>
                <a:cs typeface="Myriad Pro Light"/>
              </a:rPr>
              <a:t>have participated </a:t>
            </a:r>
            <a:r>
              <a:rPr lang="en-US" sz="1400" dirty="0">
                <a:ea typeface="Myriad Pro Light"/>
                <a:cs typeface="Myriad Pro Light"/>
              </a:rPr>
              <a:t>in more than </a:t>
            </a:r>
            <a:r>
              <a:rPr lang="en-US" sz="1400" b="1" dirty="0">
                <a:solidFill>
                  <a:srgbClr val="1E521F"/>
                </a:solidFill>
              </a:rPr>
              <a:t>250 congresses, seminars and other events abroad </a:t>
            </a:r>
            <a:r>
              <a:rPr lang="en-US" sz="1400" dirty="0">
                <a:ea typeface="Myriad Pro Light"/>
                <a:cs typeface="Myriad Pro Light"/>
              </a:rPr>
              <a:t>to present articles and posters. </a:t>
            </a:r>
            <a:endParaRPr lang="en-US" sz="1400" dirty="0" smtClean="0">
              <a:ea typeface="Myriad Pro Light"/>
              <a:cs typeface="Myriad Pro Light"/>
            </a:endParaRPr>
          </a:p>
          <a:p>
            <a:pPr marL="261938" marR="205105" indent="287338" algn="just">
              <a:lnSpc>
                <a:spcPct val="126000"/>
              </a:lnSpc>
              <a:spcBef>
                <a:spcPts val="505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400" dirty="0">
              <a:ea typeface="Myriad Pro Light"/>
              <a:cs typeface="Myriad Pro Light"/>
            </a:endParaRPr>
          </a:p>
          <a:p>
            <a:pPr marL="261938" marR="205105" indent="287338" algn="just">
              <a:lnSpc>
                <a:spcPct val="126000"/>
              </a:lnSpc>
              <a:spcBef>
                <a:spcPts val="505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 smtClean="0">
                <a:ea typeface="Myriad Pro Light"/>
                <a:cs typeface="Myriad Pro Light"/>
              </a:rPr>
              <a:t>FGV </a:t>
            </a:r>
            <a:r>
              <a:rPr lang="en-US" sz="1400" dirty="0">
                <a:ea typeface="Myriad Pro Light"/>
                <a:cs typeface="Myriad Pro Light"/>
              </a:rPr>
              <a:t>has </a:t>
            </a:r>
            <a:r>
              <a:rPr lang="en-US" sz="1400" b="1" dirty="0">
                <a:solidFill>
                  <a:srgbClr val="1E521F"/>
                </a:solidFill>
              </a:rPr>
              <a:t>sponsored</a:t>
            </a:r>
            <a:r>
              <a:rPr lang="en-US" sz="1400" dirty="0">
                <a:ea typeface="Myriad Pro Light"/>
                <a:cs typeface="Myriad Pro Light"/>
              </a:rPr>
              <a:t> more than </a:t>
            </a:r>
            <a:r>
              <a:rPr lang="en-US" sz="1400" b="1" dirty="0">
                <a:solidFill>
                  <a:srgbClr val="1E521F"/>
                </a:solidFill>
              </a:rPr>
              <a:t>400 congresses, seminars and other events</a:t>
            </a:r>
            <a:r>
              <a:rPr lang="en-US" sz="1400" dirty="0">
                <a:ea typeface="Myriad Pro Light"/>
                <a:cs typeface="Myriad Pro Light"/>
              </a:rPr>
              <a:t>, with strong participation of foreign researchers.</a:t>
            </a:r>
            <a:endParaRPr lang="pt-BR" sz="1400" dirty="0">
              <a:ea typeface="Myriad Pro Light"/>
              <a:cs typeface="Myriad Pro Light"/>
            </a:endParaRPr>
          </a:p>
          <a:p>
            <a:pPr marL="261938" marR="205740" indent="287338" algn="just">
              <a:lnSpc>
                <a:spcPct val="150000"/>
              </a:lnSpc>
              <a:spcBef>
                <a:spcPts val="550"/>
              </a:spcBef>
              <a:spcAft>
                <a:spcPts val="0"/>
              </a:spcAft>
            </a:pPr>
            <a:endParaRPr lang="en-US" sz="1400" dirty="0">
              <a:ea typeface="Myriad Pro Light"/>
              <a:cs typeface="Myriad Pro Light"/>
            </a:endParaRPr>
          </a:p>
        </p:txBody>
      </p:sp>
      <p:pic>
        <p:nvPicPr>
          <p:cNvPr id="9" name="Imagem 8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911" y="2857777"/>
            <a:ext cx="4538055" cy="3258296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7681" y="829974"/>
            <a:ext cx="1856236" cy="510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5506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tângulo 30"/>
          <p:cNvSpPr/>
          <p:nvPr/>
        </p:nvSpPr>
        <p:spPr>
          <a:xfrm>
            <a:off x="2646894" y="1935558"/>
            <a:ext cx="45719" cy="899709"/>
          </a:xfrm>
          <a:prstGeom prst="rect">
            <a:avLst/>
          </a:prstGeom>
          <a:solidFill>
            <a:srgbClr val="66B3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15480" y="188640"/>
            <a:ext cx="8712968" cy="864096"/>
          </a:xfrm>
          <a:prstGeom prst="rect">
            <a:avLst/>
          </a:prstGeom>
        </p:spPr>
        <p:txBody>
          <a:bodyPr/>
          <a:lstStyle/>
          <a:p>
            <a:r>
              <a:rPr lang="pt-BR" sz="3600" dirty="0" smtClean="0"/>
              <a:t>RESEARCH &amp; INNOVATION BILATERAL AGREEMENTS </a:t>
            </a:r>
            <a:r>
              <a:rPr lang="pt-BR" sz="2400" dirty="0" smtClean="0"/>
              <a:t>BETWEEN THE EU AND BRAZIL</a:t>
            </a:r>
            <a:endParaRPr lang="en-US" sz="3600" dirty="0"/>
          </a:p>
        </p:txBody>
      </p:sp>
      <p:sp>
        <p:nvSpPr>
          <p:cNvPr id="28" name="Espaço Reservado para Conteúdo 2"/>
          <p:cNvSpPr txBox="1">
            <a:spLocks/>
          </p:cNvSpPr>
          <p:nvPr/>
        </p:nvSpPr>
        <p:spPr>
          <a:xfrm>
            <a:off x="767408" y="1556792"/>
            <a:ext cx="11208567" cy="69236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pt-BR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cience </a:t>
            </a:r>
            <a:r>
              <a:rPr lang="pt-BR" sz="18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and</a:t>
            </a:r>
            <a:r>
              <a:rPr lang="pt-BR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Technology </a:t>
            </a:r>
            <a:r>
              <a:rPr lang="pt-BR" sz="18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Cooperation</a:t>
            </a:r>
            <a:r>
              <a:rPr lang="pt-BR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t-BR" sz="18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Agreement</a:t>
            </a:r>
            <a:r>
              <a:rPr lang="pt-BR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t-BR" sz="18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between</a:t>
            </a:r>
            <a:r>
              <a:rPr lang="pt-BR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t-BR" sz="18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the</a:t>
            </a:r>
            <a:r>
              <a:rPr lang="pt-BR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t-BR" sz="18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European</a:t>
            </a:r>
            <a:r>
              <a:rPr lang="pt-BR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t-BR" sz="18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Community</a:t>
            </a:r>
            <a:r>
              <a:rPr lang="pt-BR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t-BR" sz="18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and</a:t>
            </a:r>
            <a:r>
              <a:rPr lang="pt-BR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t-BR" sz="18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Brazil</a:t>
            </a:r>
            <a:endParaRPr lang="pt-BR" sz="18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9" name="Retângulo 28"/>
          <p:cNvSpPr/>
          <p:nvPr/>
        </p:nvSpPr>
        <p:spPr>
          <a:xfrm>
            <a:off x="335360" y="2016080"/>
            <a:ext cx="230425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pt-BR" sz="1400" dirty="0" err="1" smtClean="0">
                <a:solidFill>
                  <a:srgbClr val="1E521F"/>
                </a:solidFill>
              </a:rPr>
              <a:t>Signed</a:t>
            </a:r>
            <a:r>
              <a:rPr lang="pt-BR" sz="1400" dirty="0" smtClean="0">
                <a:solidFill>
                  <a:srgbClr val="1E521F"/>
                </a:solidFill>
              </a:rPr>
              <a:t> </a:t>
            </a:r>
            <a:r>
              <a:rPr lang="pt-BR" sz="1400" dirty="0">
                <a:solidFill>
                  <a:srgbClr val="1E521F"/>
                </a:solidFill>
              </a:rPr>
              <a:t>in </a:t>
            </a:r>
            <a:r>
              <a:rPr lang="pt-BR" sz="1400" dirty="0" smtClean="0">
                <a:solidFill>
                  <a:srgbClr val="1E521F"/>
                </a:solidFill>
              </a:rPr>
              <a:t>2004</a:t>
            </a:r>
            <a:br>
              <a:rPr lang="pt-BR" sz="1400" dirty="0" smtClean="0">
                <a:solidFill>
                  <a:srgbClr val="1E521F"/>
                </a:solidFill>
              </a:rPr>
            </a:br>
            <a:r>
              <a:rPr lang="pt-BR" sz="1400" dirty="0">
                <a:solidFill>
                  <a:srgbClr val="1E521F"/>
                </a:solidFill>
              </a:rPr>
              <a:t>A</a:t>
            </a:r>
            <a:r>
              <a:rPr lang="pt-BR" sz="1400" dirty="0" smtClean="0">
                <a:solidFill>
                  <a:srgbClr val="1E521F"/>
                </a:solidFill>
              </a:rPr>
              <a:t>ctive </a:t>
            </a:r>
            <a:r>
              <a:rPr lang="pt-BR" sz="1400" dirty="0" err="1">
                <a:solidFill>
                  <a:srgbClr val="1E521F"/>
                </a:solidFill>
              </a:rPr>
              <a:t>since</a:t>
            </a:r>
            <a:r>
              <a:rPr lang="pt-BR" sz="1400" dirty="0">
                <a:solidFill>
                  <a:srgbClr val="1E521F"/>
                </a:solidFill>
              </a:rPr>
              <a:t> </a:t>
            </a:r>
            <a:r>
              <a:rPr lang="pt-BR" sz="1400" dirty="0" smtClean="0">
                <a:solidFill>
                  <a:srgbClr val="1E521F"/>
                </a:solidFill>
              </a:rPr>
              <a:t>August </a:t>
            </a:r>
            <a:r>
              <a:rPr lang="pt-BR" sz="1400" dirty="0">
                <a:solidFill>
                  <a:srgbClr val="1E521F"/>
                </a:solidFill>
              </a:rPr>
              <a:t>2007 </a:t>
            </a:r>
            <a:br>
              <a:rPr lang="pt-BR" sz="1400" dirty="0">
                <a:solidFill>
                  <a:srgbClr val="1E521F"/>
                </a:solidFill>
              </a:rPr>
            </a:br>
            <a:r>
              <a:rPr lang="pt-BR" sz="1400" dirty="0" err="1">
                <a:solidFill>
                  <a:srgbClr val="1E521F"/>
                </a:solidFill>
              </a:rPr>
              <a:t>R</a:t>
            </a:r>
            <a:r>
              <a:rPr lang="pt-BR" sz="1400" dirty="0" err="1" smtClean="0">
                <a:solidFill>
                  <a:srgbClr val="1E521F"/>
                </a:solidFill>
              </a:rPr>
              <a:t>enewed</a:t>
            </a:r>
            <a:r>
              <a:rPr lang="pt-BR" sz="1400" dirty="0" smtClean="0">
                <a:solidFill>
                  <a:srgbClr val="1E521F"/>
                </a:solidFill>
              </a:rPr>
              <a:t> </a:t>
            </a:r>
            <a:r>
              <a:rPr lang="pt-BR" sz="1400" dirty="0" err="1">
                <a:solidFill>
                  <a:srgbClr val="1E521F"/>
                </a:solidFill>
              </a:rPr>
              <a:t>until</a:t>
            </a:r>
            <a:r>
              <a:rPr lang="pt-BR" sz="1400" dirty="0">
                <a:solidFill>
                  <a:srgbClr val="1E521F"/>
                </a:solidFill>
              </a:rPr>
              <a:t> 2022 </a:t>
            </a:r>
          </a:p>
        </p:txBody>
      </p:sp>
      <p:sp>
        <p:nvSpPr>
          <p:cNvPr id="30" name="Retângulo 29"/>
          <p:cNvSpPr/>
          <p:nvPr/>
        </p:nvSpPr>
        <p:spPr>
          <a:xfrm>
            <a:off x="2691451" y="1988840"/>
            <a:ext cx="761581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4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Last</a:t>
            </a:r>
            <a:r>
              <a:rPr lang="pt-BR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eting: Brussels (</a:t>
            </a:r>
            <a:r>
              <a:rPr lang="pt-BR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November</a:t>
            </a:r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29th 2017</a:t>
            </a:r>
            <a:r>
              <a:rPr lang="pt-BR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)</a:t>
            </a:r>
            <a:br>
              <a:rPr lang="pt-BR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he </a:t>
            </a:r>
            <a:r>
              <a: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last meeting 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U-Brazil Joint Steering Committee Meeting on Science and Technology Cooperation </a:t>
            </a:r>
            <a:r>
              <a: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ook place 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 Brasilia on </a:t>
            </a:r>
            <a:r>
              <a: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30</a:t>
            </a:r>
            <a:r>
              <a:rPr lang="en-US" sz="1400" baseline="30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h</a:t>
            </a:r>
            <a:r>
              <a: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 April</a:t>
            </a:r>
            <a:endParaRPr lang="pt-BR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2" name="Retângulo 31"/>
          <p:cNvSpPr/>
          <p:nvPr/>
        </p:nvSpPr>
        <p:spPr>
          <a:xfrm>
            <a:off x="771308" y="2904319"/>
            <a:ext cx="1058517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spcBef>
                <a:spcPts val="1000"/>
              </a:spcBef>
            </a:pPr>
            <a:r>
              <a:rPr lang="pt-BR" sz="18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Cooperation</a:t>
            </a:r>
            <a:r>
              <a:rPr lang="pt-BR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t-BR" sz="18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Agreement</a:t>
            </a:r>
            <a:r>
              <a:rPr lang="pt-BR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t-BR" sz="18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between</a:t>
            </a:r>
            <a:r>
              <a:rPr lang="pt-BR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t-BR" sz="18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the</a:t>
            </a:r>
            <a:r>
              <a:rPr lang="pt-BR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t-BR" sz="18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European</a:t>
            </a:r>
            <a:r>
              <a:rPr lang="pt-BR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t-BR" sz="18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Community</a:t>
            </a:r>
            <a:r>
              <a:rPr lang="pt-BR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t-BR" sz="18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of</a:t>
            </a:r>
            <a:r>
              <a:rPr lang="pt-BR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t-BR" sz="18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Atomic</a:t>
            </a:r>
            <a:r>
              <a:rPr lang="pt-BR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Energy (EURATOM) </a:t>
            </a:r>
            <a:r>
              <a:rPr lang="pt-BR" sz="18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and</a:t>
            </a:r>
            <a:r>
              <a:rPr lang="pt-BR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t-BR" sz="18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Brazil</a:t>
            </a:r>
            <a:r>
              <a:rPr lang="pt-BR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in </a:t>
            </a:r>
            <a:r>
              <a:rPr lang="pt-BR" sz="18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the</a:t>
            </a:r>
            <a:r>
              <a:rPr lang="pt-BR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t-BR" sz="18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area</a:t>
            </a:r>
            <a:r>
              <a:rPr lang="pt-BR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t-BR" sz="18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of</a:t>
            </a:r>
            <a:r>
              <a:rPr lang="pt-BR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t-BR" sz="18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Fusion</a:t>
            </a:r>
            <a:r>
              <a:rPr lang="pt-BR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Energy Research  </a:t>
            </a:r>
          </a:p>
        </p:txBody>
      </p:sp>
      <p:sp>
        <p:nvSpPr>
          <p:cNvPr id="33" name="Retângulo 32"/>
          <p:cNvSpPr/>
          <p:nvPr/>
        </p:nvSpPr>
        <p:spPr>
          <a:xfrm>
            <a:off x="335360" y="3621934"/>
            <a:ext cx="230425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pt-BR" sz="1400" dirty="0" err="1">
                <a:solidFill>
                  <a:srgbClr val="1E521F"/>
                </a:solidFill>
              </a:rPr>
              <a:t>Signed</a:t>
            </a:r>
            <a:r>
              <a:rPr lang="pt-BR" sz="1400" dirty="0">
                <a:solidFill>
                  <a:srgbClr val="1E521F"/>
                </a:solidFill>
              </a:rPr>
              <a:t> in 2009</a:t>
            </a:r>
            <a:br>
              <a:rPr lang="pt-BR" sz="1400" dirty="0">
                <a:solidFill>
                  <a:srgbClr val="1E521F"/>
                </a:solidFill>
              </a:rPr>
            </a:br>
            <a:r>
              <a:rPr lang="pt-BR" sz="1400" dirty="0">
                <a:solidFill>
                  <a:srgbClr val="1E521F"/>
                </a:solidFill>
              </a:rPr>
              <a:t>Active </a:t>
            </a:r>
            <a:r>
              <a:rPr lang="pt-BR" sz="1400" dirty="0" err="1">
                <a:solidFill>
                  <a:srgbClr val="1E521F"/>
                </a:solidFill>
              </a:rPr>
              <a:t>since</a:t>
            </a:r>
            <a:r>
              <a:rPr lang="pt-BR" sz="1400" dirty="0">
                <a:solidFill>
                  <a:srgbClr val="1E521F"/>
                </a:solidFill>
              </a:rPr>
              <a:t> </a:t>
            </a:r>
            <a:r>
              <a:rPr lang="pt-BR" sz="1400" dirty="0" err="1">
                <a:solidFill>
                  <a:srgbClr val="1E521F"/>
                </a:solidFill>
              </a:rPr>
              <a:t>January</a:t>
            </a:r>
            <a:r>
              <a:rPr lang="pt-BR" sz="1400" dirty="0">
                <a:solidFill>
                  <a:srgbClr val="1E521F"/>
                </a:solidFill>
              </a:rPr>
              <a:t> 2013 </a:t>
            </a:r>
            <a:r>
              <a:rPr lang="pt-BR" sz="1400" dirty="0" err="1">
                <a:solidFill>
                  <a:srgbClr val="1E521F"/>
                </a:solidFill>
              </a:rPr>
              <a:t>renewed</a:t>
            </a:r>
            <a:r>
              <a:rPr lang="pt-BR" sz="1400" dirty="0">
                <a:solidFill>
                  <a:srgbClr val="1E521F"/>
                </a:solidFill>
              </a:rPr>
              <a:t> </a:t>
            </a:r>
            <a:r>
              <a:rPr lang="pt-BR" sz="1400" dirty="0" err="1">
                <a:solidFill>
                  <a:srgbClr val="1E521F"/>
                </a:solidFill>
              </a:rPr>
              <a:t>until</a:t>
            </a:r>
            <a:r>
              <a:rPr lang="pt-BR" sz="1400" dirty="0">
                <a:solidFill>
                  <a:srgbClr val="1E521F"/>
                </a:solidFill>
              </a:rPr>
              <a:t> 2023 </a:t>
            </a:r>
          </a:p>
        </p:txBody>
      </p:sp>
      <p:sp>
        <p:nvSpPr>
          <p:cNvPr id="34" name="Retângulo 33"/>
          <p:cNvSpPr/>
          <p:nvPr/>
        </p:nvSpPr>
        <p:spPr>
          <a:xfrm>
            <a:off x="2730962" y="3789960"/>
            <a:ext cx="7980219" cy="5386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Last</a:t>
            </a:r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meeting: </a:t>
            </a:r>
            <a:r>
              <a:rPr lang="pt-BR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ulham</a:t>
            </a:r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/United </a:t>
            </a:r>
            <a:r>
              <a:rPr lang="pt-BR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Kingdom</a:t>
            </a:r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(</a:t>
            </a:r>
            <a:r>
              <a:rPr lang="pt-BR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September</a:t>
            </a:r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2015) </a:t>
            </a:r>
          </a:p>
          <a:p>
            <a:endParaRPr lang="pt-BR" sz="1400" dirty="0"/>
          </a:p>
        </p:txBody>
      </p:sp>
      <p:sp>
        <p:nvSpPr>
          <p:cNvPr id="36" name="Retângulo 35"/>
          <p:cNvSpPr/>
          <p:nvPr/>
        </p:nvSpPr>
        <p:spPr>
          <a:xfrm>
            <a:off x="2646894" y="3573016"/>
            <a:ext cx="45719" cy="899709"/>
          </a:xfrm>
          <a:prstGeom prst="rect">
            <a:avLst/>
          </a:prstGeom>
          <a:solidFill>
            <a:srgbClr val="66B3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/>
          </a:p>
        </p:txBody>
      </p:sp>
      <p:sp>
        <p:nvSpPr>
          <p:cNvPr id="37" name="Retângulo 36"/>
          <p:cNvSpPr/>
          <p:nvPr/>
        </p:nvSpPr>
        <p:spPr>
          <a:xfrm>
            <a:off x="803042" y="4556559"/>
            <a:ext cx="1069629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MCTIC-JRC CE </a:t>
            </a:r>
            <a:r>
              <a:rPr lang="pt-BR" sz="18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Cooperation</a:t>
            </a:r>
            <a:r>
              <a:rPr lang="pt-BR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t-BR" sz="18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Arrangement</a:t>
            </a:r>
            <a:r>
              <a:rPr lang="pt-BR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t-BR" sz="18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aimed</a:t>
            </a:r>
            <a:r>
              <a:rPr lang="pt-BR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t-BR" sz="18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at</a:t>
            </a:r>
            <a:r>
              <a:rPr lang="pt-BR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t-BR" sz="18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scientific</a:t>
            </a:r>
            <a:r>
              <a:rPr lang="pt-BR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t-BR" sz="18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activities</a:t>
            </a:r>
            <a:r>
              <a:rPr lang="pt-BR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t-BR" sz="18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areas</a:t>
            </a:r>
            <a:r>
              <a:rPr lang="pt-BR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t-BR" sz="18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of</a:t>
            </a:r>
            <a:r>
              <a:rPr lang="pt-BR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common </a:t>
            </a:r>
            <a:r>
              <a:rPr lang="pt-BR" sz="18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interest</a:t>
            </a:r>
            <a:r>
              <a:rPr lang="pt-BR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 </a:t>
            </a:r>
          </a:p>
        </p:txBody>
      </p:sp>
      <p:sp>
        <p:nvSpPr>
          <p:cNvPr id="38" name="Retângulo 37"/>
          <p:cNvSpPr/>
          <p:nvPr/>
        </p:nvSpPr>
        <p:spPr>
          <a:xfrm>
            <a:off x="551384" y="5013176"/>
            <a:ext cx="209082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pt-BR" sz="1400" dirty="0" err="1">
                <a:solidFill>
                  <a:srgbClr val="1E521F"/>
                </a:solidFill>
              </a:rPr>
              <a:t>Signed</a:t>
            </a:r>
            <a:r>
              <a:rPr lang="pt-BR" sz="1400" dirty="0">
                <a:solidFill>
                  <a:srgbClr val="1E521F"/>
                </a:solidFill>
              </a:rPr>
              <a:t> </a:t>
            </a:r>
            <a:r>
              <a:rPr lang="pt-BR" sz="1400" dirty="0" err="1">
                <a:solidFill>
                  <a:srgbClr val="1E521F"/>
                </a:solidFill>
              </a:rPr>
              <a:t>and</a:t>
            </a:r>
            <a:r>
              <a:rPr lang="pt-BR" sz="1400" dirty="0">
                <a:solidFill>
                  <a:srgbClr val="1E521F"/>
                </a:solidFill>
              </a:rPr>
              <a:t> </a:t>
            </a:r>
            <a:r>
              <a:rPr lang="pt-BR" sz="1400" dirty="0" err="1">
                <a:solidFill>
                  <a:srgbClr val="1E521F"/>
                </a:solidFill>
              </a:rPr>
              <a:t>active</a:t>
            </a:r>
            <a:r>
              <a:rPr lang="pt-BR" sz="1400" dirty="0">
                <a:solidFill>
                  <a:srgbClr val="1E521F"/>
                </a:solidFill>
              </a:rPr>
              <a:t> </a:t>
            </a:r>
            <a:r>
              <a:rPr lang="pt-BR" sz="1400" dirty="0" err="1">
                <a:solidFill>
                  <a:srgbClr val="1E521F"/>
                </a:solidFill>
              </a:rPr>
              <a:t>since</a:t>
            </a:r>
            <a:r>
              <a:rPr lang="pt-BR" sz="1400" dirty="0">
                <a:solidFill>
                  <a:srgbClr val="1E521F"/>
                </a:solidFill>
              </a:rPr>
              <a:t> </a:t>
            </a:r>
            <a:r>
              <a:rPr lang="pt-BR" sz="1400" dirty="0" err="1">
                <a:solidFill>
                  <a:srgbClr val="1E521F"/>
                </a:solidFill>
              </a:rPr>
              <a:t>January</a:t>
            </a:r>
            <a:r>
              <a:rPr lang="pt-BR" sz="1400" dirty="0">
                <a:solidFill>
                  <a:srgbClr val="1E521F"/>
                </a:solidFill>
              </a:rPr>
              <a:t> 2013 </a:t>
            </a:r>
            <a:br>
              <a:rPr lang="pt-BR" sz="1400" dirty="0">
                <a:solidFill>
                  <a:srgbClr val="1E521F"/>
                </a:solidFill>
              </a:rPr>
            </a:br>
            <a:r>
              <a:rPr lang="pt-BR" sz="1400" dirty="0" err="1">
                <a:solidFill>
                  <a:srgbClr val="1E521F"/>
                </a:solidFill>
              </a:rPr>
              <a:t>Renewed</a:t>
            </a:r>
            <a:r>
              <a:rPr lang="pt-BR" sz="1400" dirty="0">
                <a:solidFill>
                  <a:srgbClr val="1E521F"/>
                </a:solidFill>
              </a:rPr>
              <a:t> </a:t>
            </a:r>
            <a:r>
              <a:rPr lang="pt-BR" sz="1400" dirty="0" err="1">
                <a:solidFill>
                  <a:srgbClr val="1E521F"/>
                </a:solidFill>
              </a:rPr>
              <a:t>until</a:t>
            </a:r>
            <a:r>
              <a:rPr lang="pt-BR" sz="1400" dirty="0">
                <a:solidFill>
                  <a:srgbClr val="1E521F"/>
                </a:solidFill>
              </a:rPr>
              <a:t> 2023</a:t>
            </a:r>
          </a:p>
        </p:txBody>
      </p:sp>
      <p:sp>
        <p:nvSpPr>
          <p:cNvPr id="39" name="Retângulo 38"/>
          <p:cNvSpPr/>
          <p:nvPr/>
        </p:nvSpPr>
        <p:spPr>
          <a:xfrm>
            <a:off x="2724293" y="4978623"/>
            <a:ext cx="7980219" cy="5386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Last</a:t>
            </a:r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pt-BR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videoconference</a:t>
            </a:r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in May 2018 </a:t>
            </a:r>
          </a:p>
          <a:p>
            <a:endParaRPr lang="pt-BR" sz="1400" dirty="0"/>
          </a:p>
        </p:txBody>
      </p:sp>
      <p:sp>
        <p:nvSpPr>
          <p:cNvPr id="40" name="Retângulo 39"/>
          <p:cNvSpPr/>
          <p:nvPr/>
        </p:nvSpPr>
        <p:spPr>
          <a:xfrm>
            <a:off x="2135559" y="5310098"/>
            <a:ext cx="9558357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pt-BR" altLang="pt-BR" sz="1400" b="1" dirty="0" err="1">
                <a:solidFill>
                  <a:srgbClr val="1E521F"/>
                </a:solidFill>
              </a:rPr>
              <a:t>Areas</a:t>
            </a:r>
            <a:r>
              <a:rPr lang="pt-BR" altLang="pt-BR" sz="1400" b="1" dirty="0">
                <a:solidFill>
                  <a:srgbClr val="1E521F"/>
                </a:solidFill>
              </a:rPr>
              <a:t> </a:t>
            </a:r>
            <a:r>
              <a:rPr lang="pt-BR" altLang="pt-BR" sz="1400" b="1" dirty="0" err="1">
                <a:solidFill>
                  <a:srgbClr val="1E521F"/>
                </a:solidFill>
              </a:rPr>
              <a:t>of</a:t>
            </a:r>
            <a:r>
              <a:rPr lang="pt-BR" altLang="pt-BR" sz="1400" b="1" dirty="0">
                <a:solidFill>
                  <a:srgbClr val="1E521F"/>
                </a:solidFill>
              </a:rPr>
              <a:t> common </a:t>
            </a:r>
            <a:r>
              <a:rPr lang="pt-BR" altLang="pt-BR" sz="1400" b="1" dirty="0" err="1">
                <a:solidFill>
                  <a:srgbClr val="1E521F"/>
                </a:solidFill>
              </a:rPr>
              <a:t>interest</a:t>
            </a:r>
            <a:r>
              <a:rPr lang="pt-BR" altLang="pt-BR" sz="1400" b="1" dirty="0">
                <a:solidFill>
                  <a:srgbClr val="1E521F"/>
                </a:solidFill>
              </a:rPr>
              <a:t>: </a:t>
            </a:r>
          </a:p>
          <a:p>
            <a:pPr lvl="1"/>
            <a:r>
              <a:rPr lang="pt-BR" altLang="pt-BR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isaster</a:t>
            </a:r>
            <a:r>
              <a:rPr lang="pt-BR" alt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pt-BR" altLang="pt-BR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revention</a:t>
            </a:r>
            <a:r>
              <a:rPr lang="pt-BR" alt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pt-BR" altLang="pt-BR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nd</a:t>
            </a:r>
            <a:r>
              <a:rPr lang="pt-BR" alt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pt-BR" altLang="pt-BR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risis</a:t>
            </a:r>
            <a:r>
              <a:rPr lang="pt-BR" alt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management; </a:t>
            </a:r>
            <a:r>
              <a:rPr lang="pt-BR" altLang="pt-BR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limate</a:t>
            </a:r>
            <a:r>
              <a:rPr lang="pt-BR" alt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pt-BR" altLang="pt-BR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hange</a:t>
            </a:r>
            <a:r>
              <a:rPr lang="pt-BR" alt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pt-BR" altLang="pt-BR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nd</a:t>
            </a:r>
            <a:r>
              <a:rPr lang="pt-BR" alt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pt-BR" altLang="pt-BR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sustainable</a:t>
            </a:r>
            <a:r>
              <a:rPr lang="pt-BR" alt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management </a:t>
            </a:r>
            <a:r>
              <a:rPr lang="pt-BR" altLang="pt-BR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of</a:t>
            </a:r>
            <a:r>
              <a:rPr lang="pt-BR" alt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natural </a:t>
            </a:r>
            <a:r>
              <a:rPr lang="pt-BR" altLang="pt-BR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esources</a:t>
            </a:r>
            <a:r>
              <a:rPr lang="pt-BR" alt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pt-BR" altLang="pt-BR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nd</a:t>
            </a:r>
            <a:r>
              <a:rPr lang="pt-BR" alt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pt-BR" altLang="pt-BR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cosystem</a:t>
            </a:r>
            <a:r>
              <a:rPr lang="pt-BR" alt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pt-BR" altLang="pt-BR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services</a:t>
            </a:r>
            <a:r>
              <a:rPr lang="pt-BR" alt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; </a:t>
            </a:r>
            <a:r>
              <a:rPr lang="pt-BR" altLang="pt-BR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nergy</a:t>
            </a:r>
            <a:r>
              <a:rPr lang="pt-BR" alt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(</a:t>
            </a:r>
            <a:r>
              <a:rPr lang="pt-BR" altLang="pt-BR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including</a:t>
            </a:r>
            <a:r>
              <a:rPr lang="pt-BR" alt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pt-BR" altLang="pt-BR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bioenergy</a:t>
            </a:r>
            <a:r>
              <a:rPr lang="pt-BR" alt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pt-BR" altLang="pt-BR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nd</a:t>
            </a:r>
            <a:r>
              <a:rPr lang="pt-BR" alt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pt-BR" altLang="pt-BR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smart</a:t>
            </a:r>
            <a:r>
              <a:rPr lang="pt-BR" alt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grids); </a:t>
            </a:r>
            <a:r>
              <a:rPr lang="pt-BR" altLang="pt-BR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food</a:t>
            </a:r>
            <a:r>
              <a:rPr lang="pt-BR" alt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pt-BR" altLang="pt-BR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security</a:t>
            </a:r>
            <a:r>
              <a:rPr lang="pt-BR" alt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</a:t>
            </a:r>
            <a:r>
              <a:rPr lang="pt-BR" altLang="pt-BR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bio-economy</a:t>
            </a:r>
            <a:r>
              <a:rPr lang="pt-BR" alt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; ICT; </a:t>
            </a:r>
            <a:r>
              <a:rPr lang="pt-BR" altLang="pt-BR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nanotechnologies</a:t>
            </a:r>
            <a:r>
              <a:rPr lang="pt-BR" alt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  </a:t>
            </a:r>
            <a:endParaRPr lang="pt-BR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3" name="Retângulo 42"/>
          <p:cNvSpPr/>
          <p:nvPr/>
        </p:nvSpPr>
        <p:spPr>
          <a:xfrm>
            <a:off x="2648485" y="5049571"/>
            <a:ext cx="45719" cy="899709"/>
          </a:xfrm>
          <a:prstGeom prst="rect">
            <a:avLst/>
          </a:prstGeom>
          <a:solidFill>
            <a:srgbClr val="66B3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/>
          </a:p>
        </p:txBody>
      </p:sp>
      <p:pic>
        <p:nvPicPr>
          <p:cNvPr id="46" name="Imagem 4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7267" y="903785"/>
            <a:ext cx="1386650" cy="381575"/>
          </a:xfrm>
          <a:prstGeom prst="rect">
            <a:avLst/>
          </a:prstGeom>
        </p:spPr>
      </p:pic>
      <p:pic>
        <p:nvPicPr>
          <p:cNvPr id="17" name="Picture 2" descr="Resultado de imagem para EU logo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574"/>
          <a:stretch/>
        </p:blipFill>
        <p:spPr bwMode="auto">
          <a:xfrm>
            <a:off x="10992544" y="283315"/>
            <a:ext cx="639297" cy="546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33909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tângulo 30"/>
          <p:cNvSpPr/>
          <p:nvPr/>
        </p:nvSpPr>
        <p:spPr>
          <a:xfrm>
            <a:off x="2835951" y="2406989"/>
            <a:ext cx="45719" cy="899709"/>
          </a:xfrm>
          <a:prstGeom prst="rect">
            <a:avLst/>
          </a:prstGeom>
          <a:solidFill>
            <a:srgbClr val="66B3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15480" y="188640"/>
            <a:ext cx="8712968" cy="864096"/>
          </a:xfrm>
          <a:prstGeom prst="rect">
            <a:avLst/>
          </a:prstGeom>
        </p:spPr>
        <p:txBody>
          <a:bodyPr/>
          <a:lstStyle/>
          <a:p>
            <a:r>
              <a:rPr lang="pt-BR" sz="3600" dirty="0" smtClean="0"/>
              <a:t>RESEARCH &amp; INNOVATION BILATERAL AGREEMENTS </a:t>
            </a:r>
            <a:r>
              <a:rPr lang="pt-BR" sz="2400" dirty="0" smtClean="0"/>
              <a:t>BETWEEN THE EU AND BRAZIL</a:t>
            </a:r>
            <a:endParaRPr lang="en-US" sz="3600" dirty="0"/>
          </a:p>
        </p:txBody>
      </p:sp>
      <p:sp>
        <p:nvSpPr>
          <p:cNvPr id="17" name="Espaço Reservado para Conteúdo 2"/>
          <p:cNvSpPr txBox="1">
            <a:spLocks/>
          </p:cNvSpPr>
          <p:nvPr/>
        </p:nvSpPr>
        <p:spPr>
          <a:xfrm>
            <a:off x="956465" y="2028223"/>
            <a:ext cx="9935424" cy="69236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pt-BR" sz="18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Implementing</a:t>
            </a:r>
            <a:r>
              <a:rPr lang="pt-BR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t-BR" sz="18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Arrangement</a:t>
            </a:r>
            <a:r>
              <a:rPr lang="pt-BR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t-BR" sz="18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on</a:t>
            </a:r>
            <a:r>
              <a:rPr lang="pt-BR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ERC, </a:t>
            </a:r>
            <a:r>
              <a:rPr lang="pt-BR" sz="18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signed</a:t>
            </a:r>
            <a:r>
              <a:rPr lang="pt-BR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t-BR" sz="18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between</a:t>
            </a:r>
            <a:r>
              <a:rPr lang="pt-BR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t-BR" sz="18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European</a:t>
            </a:r>
            <a:r>
              <a:rPr lang="pt-BR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t-BR" sz="18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Comission</a:t>
            </a:r>
            <a:r>
              <a:rPr lang="pt-BR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t-BR" sz="18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and</a:t>
            </a:r>
            <a:r>
              <a:rPr lang="pt-BR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CONFAP</a:t>
            </a:r>
          </a:p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</a:pPr>
            <a:endParaRPr lang="pt-BR" sz="18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8" name="Retângulo 17"/>
          <p:cNvSpPr/>
          <p:nvPr/>
        </p:nvSpPr>
        <p:spPr>
          <a:xfrm>
            <a:off x="767408" y="2681378"/>
            <a:ext cx="209082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pt-BR" sz="1400" dirty="0" err="1">
                <a:solidFill>
                  <a:srgbClr val="1E521F"/>
                </a:solidFill>
              </a:rPr>
              <a:t>Signed</a:t>
            </a:r>
            <a:r>
              <a:rPr lang="pt-BR" sz="1400" dirty="0">
                <a:solidFill>
                  <a:srgbClr val="1E521F"/>
                </a:solidFill>
              </a:rPr>
              <a:t> in 2016</a:t>
            </a:r>
          </a:p>
        </p:txBody>
      </p:sp>
      <p:sp>
        <p:nvSpPr>
          <p:cNvPr id="19" name="Espaço Reservado para Conteúdo 2"/>
          <p:cNvSpPr>
            <a:spLocks noGrp="1"/>
          </p:cNvSpPr>
          <p:nvPr>
            <p:ph idx="1"/>
          </p:nvPr>
        </p:nvSpPr>
        <p:spPr>
          <a:xfrm>
            <a:off x="2441948" y="2592621"/>
            <a:ext cx="8449941" cy="712578"/>
          </a:xfrm>
        </p:spPr>
        <p:txBody>
          <a:bodyPr>
            <a:noAutofit/>
          </a:bodyPr>
          <a:lstStyle/>
          <a:p>
            <a:pPr marL="457200" lvl="1" indent="0">
              <a:lnSpc>
                <a:spcPct val="100000"/>
              </a:lnSpc>
              <a:buNone/>
            </a:pPr>
            <a:r>
              <a:rPr lang="pt-BR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+mn-cs"/>
              </a:rPr>
              <a:t>Last</a:t>
            </a:r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+mn-cs"/>
              </a:rPr>
              <a:t> meeting: Rio de Janeiro (August 01st 2019) </a:t>
            </a:r>
          </a:p>
          <a:p>
            <a:pPr marL="457200" lvl="1" indent="0">
              <a:lnSpc>
                <a:spcPct val="100000"/>
              </a:lnSpc>
              <a:buNone/>
            </a:pPr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+mn-cs"/>
              </a:rPr>
              <a:t>It </a:t>
            </a:r>
            <a:r>
              <a:rPr lang="pt-BR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+mn-cs"/>
              </a:rPr>
              <a:t>aims</a:t>
            </a:r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+mn-cs"/>
              </a:rPr>
              <a:t> </a:t>
            </a:r>
            <a:r>
              <a:rPr lang="pt-BR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+mn-cs"/>
              </a:rPr>
              <a:t>to</a:t>
            </a:r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+mn-cs"/>
              </a:rPr>
              <a:t> </a:t>
            </a:r>
            <a:r>
              <a:rPr lang="pt-BR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+mn-cs"/>
              </a:rPr>
              <a:t>support</a:t>
            </a:r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+mn-cs"/>
              </a:rPr>
              <a:t> </a:t>
            </a:r>
            <a:r>
              <a:rPr lang="pt-BR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+mn-cs"/>
              </a:rPr>
              <a:t>the</a:t>
            </a:r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+mn-cs"/>
              </a:rPr>
              <a:t> </a:t>
            </a:r>
            <a:r>
              <a:rPr lang="pt-BR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+mn-cs"/>
              </a:rPr>
              <a:t>integration</a:t>
            </a:r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+mn-cs"/>
              </a:rPr>
              <a:t> </a:t>
            </a:r>
            <a:r>
              <a:rPr lang="pt-BR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+mn-cs"/>
              </a:rPr>
              <a:t>of</a:t>
            </a:r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+mn-cs"/>
              </a:rPr>
              <a:t> </a:t>
            </a:r>
            <a:r>
              <a:rPr lang="pt-BR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+mn-cs"/>
              </a:rPr>
              <a:t>brazilian</a:t>
            </a:r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+mn-cs"/>
              </a:rPr>
              <a:t> </a:t>
            </a:r>
            <a:r>
              <a:rPr lang="pt-BR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+mn-cs"/>
              </a:rPr>
              <a:t>researchers</a:t>
            </a:r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+mn-cs"/>
              </a:rPr>
              <a:t> in </a:t>
            </a:r>
            <a:r>
              <a:rPr lang="pt-BR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+mn-cs"/>
              </a:rPr>
              <a:t>active</a:t>
            </a:r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+mn-cs"/>
              </a:rPr>
              <a:t> ERC </a:t>
            </a:r>
            <a:r>
              <a:rPr lang="pt-BR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+mn-cs"/>
              </a:rPr>
              <a:t>projects</a:t>
            </a:r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+mn-cs"/>
              </a:rPr>
              <a:t> </a:t>
            </a:r>
          </a:p>
        </p:txBody>
      </p:sp>
      <p:sp>
        <p:nvSpPr>
          <p:cNvPr id="20" name="Espaço Reservado para Conteúdo 2"/>
          <p:cNvSpPr txBox="1">
            <a:spLocks/>
          </p:cNvSpPr>
          <p:nvPr/>
        </p:nvSpPr>
        <p:spPr>
          <a:xfrm>
            <a:off x="2396625" y="4705445"/>
            <a:ext cx="8466566" cy="142723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>
              <a:lnSpc>
                <a:spcPct val="100000"/>
              </a:lnSpc>
              <a:buNone/>
            </a:pPr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t </a:t>
            </a:r>
            <a:r>
              <a:rPr lang="pt-BR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ims</a:t>
            </a:r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pt-BR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to</a:t>
            </a:r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pt-BR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be</a:t>
            </a:r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na </a:t>
            </a:r>
            <a:r>
              <a:rPr lang="pt-BR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xtension</a:t>
            </a:r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pt-BR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of</a:t>
            </a:r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pt-BR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o-financing</a:t>
            </a:r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pt-BR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mechanisms</a:t>
            </a:r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pt-BR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to</a:t>
            </a:r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finance 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razilian participations in Horizon 2020,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ncouranging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parallel activities and coordinated actions, as well as increasing mutual knowledge about programs and opportunities.</a:t>
            </a:r>
            <a:endParaRPr lang="pt-BR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1" name="Retângulo 20"/>
          <p:cNvSpPr/>
          <p:nvPr/>
        </p:nvSpPr>
        <p:spPr>
          <a:xfrm>
            <a:off x="1040939" y="3917679"/>
            <a:ext cx="1008766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000"/>
              </a:spcBef>
            </a:pPr>
            <a:r>
              <a:rPr lang="pt-BR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rranjo Administrativo Horizonte 2020, </a:t>
            </a:r>
            <a:r>
              <a:rPr lang="pt-BR" sz="18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signed</a:t>
            </a:r>
            <a:r>
              <a:rPr lang="pt-BR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t-BR" sz="18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between</a:t>
            </a:r>
            <a:r>
              <a:rPr lang="pt-BR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t-BR" sz="18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European</a:t>
            </a:r>
            <a:r>
              <a:rPr lang="pt-BR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t-BR" sz="18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Comission</a:t>
            </a:r>
            <a:r>
              <a:rPr lang="pt-BR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DG-RTD, CNPq, FINEP </a:t>
            </a:r>
            <a:r>
              <a:rPr lang="pt-BR" sz="18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and</a:t>
            </a:r>
            <a:r>
              <a:rPr lang="pt-BR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CONFAP</a:t>
            </a:r>
          </a:p>
        </p:txBody>
      </p:sp>
      <p:sp>
        <p:nvSpPr>
          <p:cNvPr id="23" name="Retângulo 22"/>
          <p:cNvSpPr/>
          <p:nvPr/>
        </p:nvSpPr>
        <p:spPr>
          <a:xfrm>
            <a:off x="2835951" y="4656906"/>
            <a:ext cx="45719" cy="899709"/>
          </a:xfrm>
          <a:prstGeom prst="rect">
            <a:avLst/>
          </a:prstGeom>
          <a:solidFill>
            <a:srgbClr val="66B3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/>
          </a:p>
        </p:txBody>
      </p:sp>
      <p:sp>
        <p:nvSpPr>
          <p:cNvPr id="24" name="Retângulo 23"/>
          <p:cNvSpPr/>
          <p:nvPr/>
        </p:nvSpPr>
        <p:spPr>
          <a:xfrm>
            <a:off x="767408" y="4931295"/>
            <a:ext cx="209082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pt-BR" sz="1400" dirty="0" err="1">
                <a:solidFill>
                  <a:srgbClr val="1E521F"/>
                </a:solidFill>
              </a:rPr>
              <a:t>Signed</a:t>
            </a:r>
            <a:r>
              <a:rPr lang="pt-BR" sz="1400" dirty="0">
                <a:solidFill>
                  <a:srgbClr val="1E521F"/>
                </a:solidFill>
              </a:rPr>
              <a:t> in </a:t>
            </a:r>
            <a:r>
              <a:rPr lang="pt-BR" sz="1400" dirty="0" smtClean="0">
                <a:solidFill>
                  <a:srgbClr val="1E521F"/>
                </a:solidFill>
              </a:rPr>
              <a:t>2018</a:t>
            </a:r>
            <a:endParaRPr lang="pt-BR" sz="1400" dirty="0">
              <a:solidFill>
                <a:srgbClr val="1E521F"/>
              </a:solidFill>
            </a:endParaRPr>
          </a:p>
        </p:txBody>
      </p:sp>
      <p:pic>
        <p:nvPicPr>
          <p:cNvPr id="12" name="Imagem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7267" y="903785"/>
            <a:ext cx="1386650" cy="381575"/>
          </a:xfrm>
          <a:prstGeom prst="rect">
            <a:avLst/>
          </a:prstGeom>
        </p:spPr>
      </p:pic>
      <p:pic>
        <p:nvPicPr>
          <p:cNvPr id="13" name="Picture 2" descr="Resultado de imagem para EU logo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574"/>
          <a:stretch/>
        </p:blipFill>
        <p:spPr bwMode="auto">
          <a:xfrm>
            <a:off x="10992544" y="283315"/>
            <a:ext cx="639297" cy="546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014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15480" y="188640"/>
            <a:ext cx="9937104" cy="864096"/>
          </a:xfrm>
          <a:prstGeom prst="rect">
            <a:avLst/>
          </a:prstGeom>
        </p:spPr>
        <p:txBody>
          <a:bodyPr/>
          <a:lstStyle/>
          <a:p>
            <a:r>
              <a:rPr lang="en-US" sz="3600" dirty="0" smtClean="0"/>
              <a:t>EUROPEAN UNION CALLS WITH PRIORITY TO INTERNATIONAL COOPERATION</a:t>
            </a:r>
            <a:r>
              <a:rPr lang="pt-BR" sz="3600" dirty="0" smtClean="0"/>
              <a:t/>
            </a:r>
            <a:br>
              <a:rPr lang="pt-BR" sz="3600" dirty="0" smtClean="0"/>
            </a:br>
            <a:endParaRPr lang="en-US" sz="3600" dirty="0"/>
          </a:p>
        </p:txBody>
      </p:sp>
      <p:sp>
        <p:nvSpPr>
          <p:cNvPr id="9" name="Espaço Reservado para Conteúdo 2"/>
          <p:cNvSpPr txBox="1">
            <a:spLocks/>
          </p:cNvSpPr>
          <p:nvPr/>
        </p:nvSpPr>
        <p:spPr>
          <a:xfrm>
            <a:off x="883590" y="2060848"/>
            <a:ext cx="10710485" cy="40433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chemeClr val="tx2"/>
              </a:buClr>
              <a:buSzPct val="60000"/>
              <a:buNone/>
            </a:pPr>
            <a:r>
              <a:rPr lang="pt-BR" sz="18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Socioeconomic</a:t>
            </a:r>
            <a:r>
              <a:rPr lang="pt-BR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t-BR" sz="18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and</a:t>
            </a:r>
            <a:r>
              <a:rPr lang="pt-BR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cultural </a:t>
            </a:r>
            <a:r>
              <a:rPr lang="pt-BR" sz="18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transformations</a:t>
            </a:r>
            <a:r>
              <a:rPr lang="pt-BR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in </a:t>
            </a:r>
            <a:r>
              <a:rPr lang="pt-BR" sz="18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the</a:t>
            </a:r>
            <a:r>
              <a:rPr lang="pt-BR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t-BR" sz="18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context</a:t>
            </a:r>
            <a:r>
              <a:rPr lang="pt-BR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t-BR" sz="18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of</a:t>
            </a:r>
            <a:r>
              <a:rPr lang="pt-BR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t-BR" sz="18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the</a:t>
            </a:r>
            <a:r>
              <a:rPr lang="pt-BR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t-BR" sz="18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fourth</a:t>
            </a:r>
            <a:r>
              <a:rPr lang="pt-BR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industrial </a:t>
            </a:r>
            <a:r>
              <a:rPr lang="pt-BR" sz="18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revolution</a:t>
            </a:r>
            <a:r>
              <a:rPr lang="pt-BR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</a:p>
        </p:txBody>
      </p:sp>
      <p:sp>
        <p:nvSpPr>
          <p:cNvPr id="10" name="Espaço Reservado para Conteúdo 2"/>
          <p:cNvSpPr txBox="1">
            <a:spLocks/>
          </p:cNvSpPr>
          <p:nvPr/>
        </p:nvSpPr>
        <p:spPr>
          <a:xfrm>
            <a:off x="1588616" y="2501438"/>
            <a:ext cx="7319045" cy="53981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1800" dirty="0">
                <a:solidFill>
                  <a:srgbClr val="1E521F"/>
                </a:solidFill>
              </a:rPr>
              <a:t>Transformative impact of disruptive technologies in public </a:t>
            </a:r>
            <a:r>
              <a:rPr lang="en-US" sz="1800" dirty="0" smtClean="0">
                <a:solidFill>
                  <a:srgbClr val="1E521F"/>
                </a:solidFill>
              </a:rPr>
              <a:t>services </a:t>
            </a:r>
            <a:r>
              <a:rPr 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eadline</a:t>
            </a: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: 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03/12/2020 </a:t>
            </a: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DT-TRANSFORMATIONS-02-2018-2019-2020 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)</a:t>
            </a:r>
          </a:p>
        </p:txBody>
      </p:sp>
      <p:pic>
        <p:nvPicPr>
          <p:cNvPr id="14" name="Imagem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7267" y="903785"/>
            <a:ext cx="1386650" cy="381575"/>
          </a:xfrm>
          <a:prstGeom prst="rect">
            <a:avLst/>
          </a:prstGeom>
        </p:spPr>
      </p:pic>
      <p:pic>
        <p:nvPicPr>
          <p:cNvPr id="15" name="Picture 2" descr="Resultado de imagem para EU logo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574"/>
          <a:stretch/>
        </p:blipFill>
        <p:spPr bwMode="auto">
          <a:xfrm>
            <a:off x="10992544" y="283315"/>
            <a:ext cx="639297" cy="546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Espaço Reservado para Conteúdo 2"/>
          <p:cNvSpPr txBox="1">
            <a:spLocks/>
          </p:cNvSpPr>
          <p:nvPr/>
        </p:nvSpPr>
        <p:spPr>
          <a:xfrm>
            <a:off x="1588616" y="3149510"/>
            <a:ext cx="7319045" cy="53981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1800" dirty="0">
                <a:solidFill>
                  <a:srgbClr val="1E521F"/>
                </a:solidFill>
              </a:rPr>
              <a:t>Curation of digital assets and advanced </a:t>
            </a:r>
            <a:r>
              <a:rPr lang="en-US" sz="1800" dirty="0" err="1">
                <a:solidFill>
                  <a:srgbClr val="1E521F"/>
                </a:solidFill>
              </a:rPr>
              <a:t>digitisation</a:t>
            </a:r>
            <a:r>
              <a:rPr lang="en-US" sz="1800" dirty="0">
                <a:solidFill>
                  <a:srgbClr val="1E521F"/>
                </a:solidFill>
              </a:rPr>
              <a:t> 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eadline</a:t>
            </a: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: 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03/12/2020 (DT-TRANSFORMATIONS-12-2018-2020)</a:t>
            </a:r>
          </a:p>
        </p:txBody>
      </p:sp>
      <p:sp>
        <p:nvSpPr>
          <p:cNvPr id="19" name="Espaço Reservado para Conteúdo 2"/>
          <p:cNvSpPr txBox="1">
            <a:spLocks/>
          </p:cNvSpPr>
          <p:nvPr/>
        </p:nvSpPr>
        <p:spPr>
          <a:xfrm>
            <a:off x="1586185" y="4013606"/>
            <a:ext cx="9225099" cy="53981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1800" dirty="0" smtClean="0">
                <a:solidFill>
                  <a:srgbClr val="1E521F"/>
                </a:solidFill>
              </a:rPr>
              <a:t>Culture </a:t>
            </a:r>
            <a:r>
              <a:rPr lang="en-US" sz="1800" dirty="0">
                <a:solidFill>
                  <a:srgbClr val="1E521F"/>
                </a:solidFill>
              </a:rPr>
              <a:t>beyond borders – Facilitating innovation and research cooperation between European Museums and heritage sites. 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eadline: 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03/12/2020 (</a:t>
            </a: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TRANSFORMATIONS-19-2020 )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1" name="Espaço Reservado para Conteúdo 2"/>
          <p:cNvSpPr txBox="1">
            <a:spLocks/>
          </p:cNvSpPr>
          <p:nvPr/>
        </p:nvSpPr>
        <p:spPr>
          <a:xfrm>
            <a:off x="1586185" y="5021718"/>
            <a:ext cx="8863426" cy="53981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1800" dirty="0">
                <a:solidFill>
                  <a:srgbClr val="1E521F"/>
                </a:solidFill>
              </a:rPr>
              <a:t>Enhancing access and uptake of education to reverse inequalities 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eadline: 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03/12/2020 </a:t>
            </a: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TRANSFORMATIONS-22-2020)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39592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15480" y="188640"/>
            <a:ext cx="9937104" cy="864096"/>
          </a:xfrm>
          <a:prstGeom prst="rect">
            <a:avLst/>
          </a:prstGeom>
        </p:spPr>
        <p:txBody>
          <a:bodyPr/>
          <a:lstStyle/>
          <a:p>
            <a:r>
              <a:rPr lang="en-US" sz="3600" dirty="0" smtClean="0"/>
              <a:t>EUROPEAN UNION CALLS WITH PRIORITY TO INTERNATIONAL COOPERATION</a:t>
            </a:r>
            <a:r>
              <a:rPr lang="pt-BR" sz="3600" dirty="0" smtClean="0"/>
              <a:t/>
            </a:r>
            <a:br>
              <a:rPr lang="pt-BR" sz="3600" dirty="0" smtClean="0"/>
            </a:br>
            <a:endParaRPr lang="en-US" sz="3600" dirty="0"/>
          </a:p>
        </p:txBody>
      </p:sp>
      <p:pic>
        <p:nvPicPr>
          <p:cNvPr id="14" name="Imagem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7267" y="903785"/>
            <a:ext cx="1386650" cy="381575"/>
          </a:xfrm>
          <a:prstGeom prst="rect">
            <a:avLst/>
          </a:prstGeom>
        </p:spPr>
      </p:pic>
      <p:pic>
        <p:nvPicPr>
          <p:cNvPr id="15" name="Picture 2" descr="Resultado de imagem para EU logo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574"/>
          <a:stretch/>
        </p:blipFill>
        <p:spPr bwMode="auto">
          <a:xfrm>
            <a:off x="10992544" y="283315"/>
            <a:ext cx="639297" cy="546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Espaço Reservado para Conteúdo 2"/>
          <p:cNvSpPr txBox="1">
            <a:spLocks/>
          </p:cNvSpPr>
          <p:nvPr/>
        </p:nvSpPr>
        <p:spPr>
          <a:xfrm>
            <a:off x="911424" y="2096603"/>
            <a:ext cx="6890313" cy="47910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chemeClr val="tx2"/>
              </a:buClr>
              <a:buSzPct val="60000"/>
              <a:buNone/>
            </a:pPr>
            <a:r>
              <a:rPr lang="en-US" sz="1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Governance for the future </a:t>
            </a:r>
          </a:p>
        </p:txBody>
      </p:sp>
      <p:sp>
        <p:nvSpPr>
          <p:cNvPr id="17" name="Espaço Reservado para Conteúdo 2"/>
          <p:cNvSpPr txBox="1">
            <a:spLocks/>
          </p:cNvSpPr>
          <p:nvPr/>
        </p:nvSpPr>
        <p:spPr>
          <a:xfrm>
            <a:off x="1567685" y="2529149"/>
            <a:ext cx="8863426" cy="53981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1800" dirty="0" smtClean="0">
                <a:solidFill>
                  <a:srgbClr val="1E521F"/>
                </a:solidFill>
              </a:rPr>
              <a:t>Addressing radicalization through social inclusion </a:t>
            </a:r>
            <a:br>
              <a:rPr lang="en-US" sz="1800" dirty="0" smtClean="0">
                <a:solidFill>
                  <a:srgbClr val="1E521F"/>
                </a:solidFill>
              </a:rPr>
            </a:br>
            <a:r>
              <a:rPr 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eadline: </a:t>
            </a: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03/12/2020 (SU-GOVERNANCE-09-2020)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2" name="Espaço Reservado para Conteúdo 2"/>
          <p:cNvSpPr txBox="1">
            <a:spLocks/>
          </p:cNvSpPr>
          <p:nvPr/>
        </p:nvSpPr>
        <p:spPr>
          <a:xfrm>
            <a:off x="1567685" y="3212976"/>
            <a:ext cx="8863426" cy="53981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1800" dirty="0" smtClean="0">
                <a:solidFill>
                  <a:srgbClr val="1E521F"/>
                </a:solidFill>
              </a:rPr>
              <a:t>New forms of delivering public goods and inclusive public services</a:t>
            </a:r>
            <a:br>
              <a:rPr lang="en-US" sz="1800" dirty="0" smtClean="0">
                <a:solidFill>
                  <a:srgbClr val="1E521F"/>
                </a:solidFill>
              </a:rPr>
            </a:br>
            <a:r>
              <a:rPr 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eadline: </a:t>
            </a: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03/13/2020 (DT-GOVERNANCE-05-2018-2019-2020)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8" name="Espaço Reservado para Conteúdo 2"/>
          <p:cNvSpPr txBox="1">
            <a:spLocks/>
          </p:cNvSpPr>
          <p:nvPr/>
        </p:nvSpPr>
        <p:spPr>
          <a:xfrm>
            <a:off x="1567685" y="3933056"/>
            <a:ext cx="8863426" cy="53981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1800" dirty="0">
                <a:solidFill>
                  <a:srgbClr val="1E521F"/>
                </a:solidFill>
              </a:rPr>
              <a:t>Developing deliberative and participatory democracies through experimentation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eadline: 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03/12/2020 (</a:t>
            </a: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U-GOVERNANCE-21-2020)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" name="Espaço Reservado para Conteúdo 2"/>
          <p:cNvSpPr txBox="1">
            <a:spLocks/>
          </p:cNvSpPr>
          <p:nvPr/>
        </p:nvSpPr>
        <p:spPr>
          <a:xfrm>
            <a:off x="1567685" y="4725144"/>
            <a:ext cx="8863426" cy="53981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1800" dirty="0">
                <a:solidFill>
                  <a:srgbClr val="1E521F"/>
                </a:solidFill>
              </a:rPr>
              <a:t>Citizen-centric public services in local and regional </a:t>
            </a:r>
            <a:r>
              <a:rPr lang="en-US" sz="1800" dirty="0" smtClean="0">
                <a:solidFill>
                  <a:srgbClr val="1E521F"/>
                </a:solidFill>
              </a:rPr>
              <a:t>administrations </a:t>
            </a:r>
            <a:endParaRPr lang="en-US" sz="1800" dirty="0">
              <a:solidFill>
                <a:srgbClr val="1E521F"/>
              </a:solidFill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eadline: 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03/12/2020 (</a:t>
            </a: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T-GOVERNANCE-22-2020)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5454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Espaço Reservado para Conteúdo 2"/>
          <p:cNvSpPr>
            <a:spLocks noGrp="1"/>
          </p:cNvSpPr>
          <p:nvPr>
            <p:ph idx="1"/>
          </p:nvPr>
        </p:nvSpPr>
        <p:spPr>
          <a:xfrm>
            <a:off x="1063326" y="1880044"/>
            <a:ext cx="2440386" cy="530089"/>
          </a:xfrm>
        </p:spPr>
        <p:txBody>
          <a:bodyPr>
            <a:noAutofit/>
          </a:bodyPr>
          <a:lstStyle/>
          <a:p>
            <a:pPr marL="0" indent="0" defTabSz="914400">
              <a:lnSpc>
                <a:spcPct val="90000"/>
              </a:lnSpc>
              <a:spcBef>
                <a:spcPts val="1000"/>
              </a:spcBef>
              <a:buNone/>
            </a:pPr>
            <a:r>
              <a:rPr lang="en-US" sz="1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+mn-cs"/>
              </a:rPr>
              <a:t>Environmen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15480" y="188640"/>
            <a:ext cx="9937104" cy="864096"/>
          </a:xfrm>
          <a:prstGeom prst="rect">
            <a:avLst/>
          </a:prstGeom>
        </p:spPr>
        <p:txBody>
          <a:bodyPr/>
          <a:lstStyle/>
          <a:p>
            <a:r>
              <a:rPr lang="en-US" sz="3600" dirty="0" smtClean="0"/>
              <a:t>EUROPEAN UNION CALLS WITH PRIORITY TO INTERNATIONAL COOPERATION</a:t>
            </a:r>
            <a:r>
              <a:rPr lang="pt-BR" sz="3600" dirty="0" smtClean="0"/>
              <a:t/>
            </a:r>
            <a:br>
              <a:rPr lang="pt-BR" sz="3600" dirty="0" smtClean="0"/>
            </a:br>
            <a:endParaRPr lang="en-US" sz="3600" dirty="0"/>
          </a:p>
        </p:txBody>
      </p:sp>
      <p:pic>
        <p:nvPicPr>
          <p:cNvPr id="14" name="Imagem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7267" y="903785"/>
            <a:ext cx="1386650" cy="381575"/>
          </a:xfrm>
          <a:prstGeom prst="rect">
            <a:avLst/>
          </a:prstGeom>
        </p:spPr>
      </p:pic>
      <p:pic>
        <p:nvPicPr>
          <p:cNvPr id="15" name="Picture 2" descr="Resultado de imagem para EU logo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574"/>
          <a:stretch/>
        </p:blipFill>
        <p:spPr bwMode="auto">
          <a:xfrm>
            <a:off x="10992544" y="283315"/>
            <a:ext cx="639297" cy="546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Espaço Reservado para Conteúdo 2"/>
          <p:cNvSpPr txBox="1">
            <a:spLocks/>
          </p:cNvSpPr>
          <p:nvPr/>
        </p:nvSpPr>
        <p:spPr>
          <a:xfrm>
            <a:off x="1621483" y="2515543"/>
            <a:ext cx="9297911" cy="51944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1800" dirty="0">
                <a:solidFill>
                  <a:srgbClr val="1E521F"/>
                </a:solidFill>
              </a:rPr>
              <a:t>Innovative nature-based solutions for carbon neutral cities and improved air </a:t>
            </a:r>
            <a:r>
              <a:rPr lang="en-US" sz="1800" dirty="0" smtClean="0">
                <a:solidFill>
                  <a:srgbClr val="1E521F"/>
                </a:solidFill>
              </a:rPr>
              <a:t>quality</a:t>
            </a:r>
            <a:r>
              <a:rPr lang="en-US" sz="1800" dirty="0">
                <a:solidFill>
                  <a:srgbClr val="1E521F"/>
                </a:solidFill>
              </a:rPr>
              <a:t/>
            </a:r>
            <a:br>
              <a:rPr lang="en-US" sz="1800" dirty="0">
                <a:solidFill>
                  <a:srgbClr val="1E521F"/>
                </a:solidFill>
              </a:rPr>
            </a:br>
            <a:r>
              <a:rPr 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eadline</a:t>
            </a: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: </a:t>
            </a: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02/13</a:t>
            </a:r>
            <a:r>
              <a:rPr 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/</a:t>
            </a: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2020 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(</a:t>
            </a: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LC-CLA-11-2020)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" name="Espaço Reservado para Conteúdo 2"/>
          <p:cNvSpPr txBox="1">
            <a:spLocks/>
          </p:cNvSpPr>
          <p:nvPr/>
        </p:nvSpPr>
        <p:spPr>
          <a:xfrm>
            <a:off x="1663156" y="3171421"/>
            <a:ext cx="9914037" cy="51944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1800" dirty="0">
                <a:solidFill>
                  <a:srgbClr val="1E521F"/>
                </a:solidFill>
              </a:rPr>
              <a:t>Understanding the transition to a circular economy and its implications on the environment, economy and society</a:t>
            </a:r>
            <a:br>
              <a:rPr lang="en-US" sz="1800" dirty="0">
                <a:solidFill>
                  <a:srgbClr val="1E521F"/>
                </a:solidFill>
              </a:rPr>
            </a:br>
            <a:r>
              <a:rPr 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eadline</a:t>
            </a: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: </a:t>
            </a: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02/13</a:t>
            </a:r>
            <a:r>
              <a:rPr 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/</a:t>
            </a: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2020 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(CE-SC5-25-2020</a:t>
            </a: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)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0" name="Espaço Reservado para Conteúdo 2"/>
          <p:cNvSpPr txBox="1">
            <a:spLocks/>
          </p:cNvSpPr>
          <p:nvPr/>
        </p:nvSpPr>
        <p:spPr>
          <a:xfrm>
            <a:off x="1688693" y="4179533"/>
            <a:ext cx="9710362" cy="59636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1800" dirty="0">
                <a:solidFill>
                  <a:srgbClr val="1E521F"/>
                </a:solidFill>
              </a:rPr>
              <a:t>Develop and pilot circular systems in plastics, textiles and furniture sectors </a:t>
            </a:r>
            <a:r>
              <a:rPr lang="en-US" sz="1800" dirty="0" smtClean="0">
                <a:solidFill>
                  <a:srgbClr val="1E521F"/>
                </a:solidFill>
              </a:rPr>
              <a:t/>
            </a:r>
            <a:br>
              <a:rPr lang="en-US" sz="1800" dirty="0" smtClean="0">
                <a:solidFill>
                  <a:srgbClr val="1E521F"/>
                </a:solidFill>
              </a:rPr>
            </a:br>
            <a:r>
              <a:rPr 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eadline</a:t>
            </a: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: </a:t>
            </a: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02/13</a:t>
            </a:r>
            <a:r>
              <a:rPr 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/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020 (CE-SC5-28-2020</a:t>
            </a: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)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Espaço Reservado para Conteúdo 2"/>
          <p:cNvSpPr txBox="1">
            <a:spLocks/>
          </p:cNvSpPr>
          <p:nvPr/>
        </p:nvSpPr>
        <p:spPr>
          <a:xfrm>
            <a:off x="1688693" y="4879310"/>
            <a:ext cx="9710362" cy="59636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1800" dirty="0">
                <a:solidFill>
                  <a:srgbClr val="1E521F"/>
                </a:solidFill>
              </a:rPr>
              <a:t>Plastics in the environment: understanding the sources, transport, distribution and impacts of plastics pollution </a:t>
            </a:r>
            <a:br>
              <a:rPr lang="en-US" sz="1800" dirty="0">
                <a:solidFill>
                  <a:srgbClr val="1E521F"/>
                </a:solidFill>
              </a:rPr>
            </a:br>
            <a:r>
              <a:rPr 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eadline</a:t>
            </a: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: </a:t>
            </a: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02/13</a:t>
            </a:r>
            <a:r>
              <a:rPr 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/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020 (CE-SC5-30-2020</a:t>
            </a: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)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62660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15480" y="188640"/>
            <a:ext cx="9937104" cy="864096"/>
          </a:xfrm>
          <a:prstGeom prst="rect">
            <a:avLst/>
          </a:prstGeom>
        </p:spPr>
        <p:txBody>
          <a:bodyPr/>
          <a:lstStyle/>
          <a:p>
            <a:r>
              <a:rPr lang="en-US" sz="3600" dirty="0" smtClean="0"/>
              <a:t>EUROPEAN UNION CALLS WITH PRIORITY TO INTERNATIONAL COOPERATION</a:t>
            </a:r>
            <a:r>
              <a:rPr lang="pt-BR" sz="3600" dirty="0" smtClean="0"/>
              <a:t/>
            </a:r>
            <a:br>
              <a:rPr lang="pt-BR" sz="3600" dirty="0" smtClean="0"/>
            </a:br>
            <a:endParaRPr lang="en-US" sz="3600" dirty="0"/>
          </a:p>
        </p:txBody>
      </p:sp>
      <p:sp>
        <p:nvSpPr>
          <p:cNvPr id="3" name="Retângulo 2"/>
          <p:cNvSpPr/>
          <p:nvPr/>
        </p:nvSpPr>
        <p:spPr>
          <a:xfrm>
            <a:off x="987454" y="2289578"/>
            <a:ext cx="1249125" cy="3416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>
              <a:lnSpc>
                <a:spcPct val="90000"/>
              </a:lnSpc>
              <a:spcBef>
                <a:spcPts val="1000"/>
              </a:spcBef>
            </a:pPr>
            <a:r>
              <a:rPr lang="en-US" sz="18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Transport</a:t>
            </a:r>
            <a:endParaRPr lang="en-US" sz="18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pic>
        <p:nvPicPr>
          <p:cNvPr id="14" name="Imagem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7267" y="903785"/>
            <a:ext cx="1386650" cy="381575"/>
          </a:xfrm>
          <a:prstGeom prst="rect">
            <a:avLst/>
          </a:prstGeom>
        </p:spPr>
      </p:pic>
      <p:pic>
        <p:nvPicPr>
          <p:cNvPr id="15" name="Picture 2" descr="Resultado de imagem para EU logo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574"/>
          <a:stretch/>
        </p:blipFill>
        <p:spPr bwMode="auto">
          <a:xfrm>
            <a:off x="10992544" y="283315"/>
            <a:ext cx="639297" cy="546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Espaço Reservado para Conteúdo 2"/>
          <p:cNvSpPr txBox="1">
            <a:spLocks/>
          </p:cNvSpPr>
          <p:nvPr/>
        </p:nvSpPr>
        <p:spPr>
          <a:xfrm>
            <a:off x="1583992" y="2856438"/>
            <a:ext cx="6889297" cy="51396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1800" dirty="0">
                <a:solidFill>
                  <a:srgbClr val="1E521F"/>
                </a:solidFill>
              </a:rPr>
              <a:t>Network and traffic management for future mobility </a:t>
            </a:r>
            <a:r>
              <a:rPr lang="en-US" sz="1800" dirty="0" smtClean="0">
                <a:solidFill>
                  <a:srgbClr val="1E521F"/>
                </a:solidFill>
              </a:rPr>
              <a:t/>
            </a:r>
            <a:br>
              <a:rPr lang="en-US" sz="1800" dirty="0" smtClean="0">
                <a:solidFill>
                  <a:srgbClr val="1E521F"/>
                </a:solidFill>
              </a:rPr>
            </a:br>
            <a:r>
              <a:rPr 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eadline</a:t>
            </a: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: 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01/09/2020 (MG-2-11-2020)</a:t>
            </a:r>
          </a:p>
        </p:txBody>
      </p:sp>
      <p:sp>
        <p:nvSpPr>
          <p:cNvPr id="32" name="Espaço Reservado para Conteúdo 2"/>
          <p:cNvSpPr txBox="1">
            <a:spLocks/>
          </p:cNvSpPr>
          <p:nvPr/>
        </p:nvSpPr>
        <p:spPr>
          <a:xfrm>
            <a:off x="1612017" y="3514423"/>
            <a:ext cx="9961235" cy="51396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1800" dirty="0">
                <a:solidFill>
                  <a:srgbClr val="1E521F"/>
                </a:solidFill>
              </a:rPr>
              <a:t>Improving road safety by effectively monitoring working patterns and overall fitness of drivers  </a:t>
            </a:r>
            <a:r>
              <a:rPr lang="en-US" sz="1800" dirty="0" smtClean="0">
                <a:solidFill>
                  <a:srgbClr val="1E521F"/>
                </a:solidFill>
              </a:rPr>
              <a:t/>
            </a:r>
            <a:br>
              <a:rPr lang="en-US" sz="1800" dirty="0" smtClean="0">
                <a:solidFill>
                  <a:srgbClr val="1E521F"/>
                </a:solidFill>
              </a:rPr>
            </a:br>
            <a:r>
              <a:rPr 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eadline</a:t>
            </a: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: 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01/09/2020 (</a:t>
            </a: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G-2-12-2020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)</a:t>
            </a:r>
          </a:p>
        </p:txBody>
      </p:sp>
      <p:sp>
        <p:nvSpPr>
          <p:cNvPr id="33" name="Espaço Reservado para Conteúdo 2"/>
          <p:cNvSpPr txBox="1">
            <a:spLocks/>
          </p:cNvSpPr>
          <p:nvPr/>
        </p:nvSpPr>
        <p:spPr>
          <a:xfrm>
            <a:off x="1582847" y="4162495"/>
            <a:ext cx="9864142" cy="51396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1800" dirty="0">
                <a:solidFill>
                  <a:srgbClr val="1E521F"/>
                </a:solidFill>
              </a:rPr>
              <a:t>Advanced research methods and tools in support of transport/mobility researchers, planners and policy makers </a:t>
            </a:r>
            <a:r>
              <a:rPr lang="en-US" sz="1800" dirty="0" smtClean="0">
                <a:solidFill>
                  <a:srgbClr val="1E521F"/>
                </a:solidFill>
              </a:rPr>
              <a:t/>
            </a:r>
            <a:br>
              <a:rPr lang="en-US" sz="1800" dirty="0" smtClean="0">
                <a:solidFill>
                  <a:srgbClr val="1E521F"/>
                </a:solidFill>
              </a:rPr>
            </a:br>
            <a:r>
              <a:rPr 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eadline</a:t>
            </a: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: 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01/09/2020 (</a:t>
            </a: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G-4-08-2020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775891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8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7&quot;&gt;&lt;elem m_fUsage=&quot;8.20863593733585261703E+00&quot;&gt;&lt;m_msothmcolidx val=&quot;0&quot;/&gt;&lt;m_rgb r=&quot;D1&quot; g=&quot;D3&quot; b=&quot;D4&quot;/&gt;&lt;m_nBrightness val=&quot;0&quot;/&gt;&lt;/elem&gt;&lt;elem m_fUsage=&quot;8.75891753133962946976E-01&quot;&gt;&lt;m_msothmcolidx val=&quot;0&quot;/&gt;&lt;m_rgb r=&quot;00&quot; g=&quot;3A&quot; b=&quot;70&quot;/&gt;&lt;m_nBrightness val=&quot;0&quot;/&gt;&lt;/elem&gt;&lt;elem m_fUsage=&quot;3.20387190652483333508E-01&quot;&gt;&lt;m_msothmcolidx val=&quot;0&quot;/&gt;&lt;m_rgb r=&quot;39&quot; g=&quot;4E&quot; b=&quot;70&quot;/&gt;&lt;m_nBrightness val=&quot;0&quot;/&gt;&lt;/elem&gt;&lt;elem m_fUsage=&quot;2.28767924549610118801E-01&quot;&gt;&lt;m_msothmcolidx val=&quot;0&quot;/&gt;&lt;m_rgb r=&quot;00&quot; g=&quot;71&quot; b=&quot;BC&quot;/&gt;&lt;m_nBrightness val=&quot;0&quot;/&gt;&lt;/elem&gt;&lt;elem m_fUsage=&quot;1.72904245659934480139E-01&quot;&gt;&lt;m_msothmcolidx val=&quot;0&quot;/&gt;&lt;m_rgb r=&quot;00&quot; g=&quot;AA&quot; b=&quot;E6&quot;/&gt;&lt;m_nBrightness val=&quot;0&quot;/&gt;&lt;/elem&gt;&lt;elem m_fUsage=&quot;1.55248410504319284131E-01&quot;&gt;&lt;m_msothmcolidx val=&quot;0&quot;/&gt;&lt;m_rgb r=&quot;80&quot; g=&quot;8B&quot; b=&quot;94&quot;/&gt;&lt;m_nBrightness val=&quot;0&quot;/&gt;&lt;/elem&gt;&lt;elem m_fUsage=&quot;1.07752636643058292976E-02&quot;&gt;&lt;m_msothmcolidx val=&quot;0&quot;/&gt;&lt;m_rgb r=&quot;89&quot; g=&quot;AD&quot; b=&quot;C8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rel PowerPoint Template - CMD">
  <a:themeElements>
    <a:clrScheme name="Custom 3">
      <a:dk1>
        <a:srgbClr val="000000"/>
      </a:dk1>
      <a:lt1>
        <a:srgbClr val="FFFFFF"/>
      </a:lt1>
      <a:dk2>
        <a:srgbClr val="666C72"/>
      </a:dk2>
      <a:lt2>
        <a:srgbClr val="FEFFFF"/>
      </a:lt2>
      <a:accent1>
        <a:srgbClr val="E35232"/>
      </a:accent1>
      <a:accent2>
        <a:srgbClr val="8E2A15"/>
      </a:accent2>
      <a:accent3>
        <a:srgbClr val="40869E"/>
      </a:accent3>
      <a:accent4>
        <a:srgbClr val="6F9B6C"/>
      </a:accent4>
      <a:accent5>
        <a:srgbClr val="40869E"/>
      </a:accent5>
      <a:accent6>
        <a:srgbClr val="FFFFFF"/>
      </a:accent6>
      <a:hlink>
        <a:srgbClr val="002052"/>
      </a:hlink>
      <a:folHlink>
        <a:srgbClr val="194E83"/>
      </a:folHlink>
    </a:clrScheme>
    <a:fontScheme name="Marel_ne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Unknown Document Type" ma:contentTypeID="0x010104" ma:contentTypeVersion="0" ma:contentTypeDescription="" ma:contentTypeScope="" ma:versionID="05d83ceaa0bbd2e3bc716e6e66bd857a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3d69fe45253d5ff147bb69036b756a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7EDC874-FBB9-4C92-BB84-3CD03DBA0B5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AF4F45CC-CA4B-4DF4-9A54-073CC024A4BE}">
  <ds:schemaRefs>
    <ds:schemaRef ds:uri="http://www.w3.org/XML/1998/namespace"/>
    <ds:schemaRef ds:uri="http://purl.org/dc/elements/1.1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DC464943-A606-4F03-9E9F-19FB7A83E9E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arel PowerPoint Template - Mar 2016 v2</Template>
  <TotalTime>809</TotalTime>
  <Words>791</Words>
  <Application>Microsoft Office PowerPoint</Application>
  <PresentationFormat>Widescreen</PresentationFormat>
  <Paragraphs>78</Paragraphs>
  <Slides>12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2</vt:i4>
      </vt:variant>
    </vt:vector>
  </HeadingPairs>
  <TitlesOfParts>
    <vt:vector size="21" baseType="lpstr">
      <vt:lpstr>Arial</vt:lpstr>
      <vt:lpstr>Calibri</vt:lpstr>
      <vt:lpstr>CooperHewitt-Book</vt:lpstr>
      <vt:lpstr>CooperHewitt-Medium</vt:lpstr>
      <vt:lpstr>CooperHewitt-Semibold</vt:lpstr>
      <vt:lpstr>Myriad Pro Light</vt:lpstr>
      <vt:lpstr>Times New Roman</vt:lpstr>
      <vt:lpstr>Marel PowerPoint Template - CMD</vt:lpstr>
      <vt:lpstr>think-cell Slide</vt:lpstr>
      <vt:lpstr>Apresentação do PowerPoint</vt:lpstr>
      <vt:lpstr>ABOUT FGV</vt:lpstr>
      <vt:lpstr>FGV’S SCHOOLS AND CENTERS</vt:lpstr>
      <vt:lpstr>RESEARCH &amp; INNOVATION BILATERAL AGREEMENTS BETWEEN THE EU AND BRAZIL</vt:lpstr>
      <vt:lpstr>RESEARCH &amp; INNOVATION BILATERAL AGREEMENTS BETWEEN THE EU AND BRAZIL</vt:lpstr>
      <vt:lpstr>EUROPEAN UNION CALLS WITH PRIORITY TO INTERNATIONAL COOPERATION </vt:lpstr>
      <vt:lpstr>EUROPEAN UNION CALLS WITH PRIORITY TO INTERNATIONAL COOPERATION </vt:lpstr>
      <vt:lpstr>EUROPEAN UNION CALLS WITH PRIORITY TO INTERNATIONAL COOPERATION </vt:lpstr>
      <vt:lpstr>EUROPEAN UNION CALLS WITH PRIORITY TO INTERNATIONAL COOPERATION </vt:lpstr>
      <vt:lpstr>EUROPEAN UNION CALLS WITH PRIORITY TO INTERNATIONAL COOPERATION </vt:lpstr>
      <vt:lpstr>BRAZIL SUCCESS RATE (19,3%) </vt:lpstr>
      <vt:lpstr>CONTACT</vt:lpstr>
    </vt:vector>
  </TitlesOfParts>
  <Company>Mar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uðbjörg Ólafsdóttir</dc:creator>
  <cp:keywords>Template</cp:keywords>
  <cp:lastModifiedBy>Mariana Bonniard Nogueira</cp:lastModifiedBy>
  <cp:revision>984</cp:revision>
  <cp:lastPrinted>2018-04-22T18:00:33Z</cp:lastPrinted>
  <dcterms:created xsi:type="dcterms:W3CDTF">2016-04-12T09:08:49Z</dcterms:created>
  <dcterms:modified xsi:type="dcterms:W3CDTF">2019-11-11T12:34:41Z</dcterms:modified>
</cp:coreProperties>
</file>